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256" r:id="rId5"/>
    <p:sldId id="264" r:id="rId6"/>
    <p:sldId id="265" r:id="rId7"/>
    <p:sldId id="266" r:id="rId8"/>
    <p:sldId id="267" r:id="rId9"/>
    <p:sldId id="268"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5" r:id="rId23"/>
    <p:sldId id="286" r:id="rId24"/>
    <p:sldId id="284" r:id="rId25"/>
    <p:sldId id="287" r:id="rId26"/>
    <p:sldId id="3127" r:id="rId27"/>
    <p:sldId id="290" r:id="rId28"/>
    <p:sldId id="291" r:id="rId29"/>
    <p:sldId id="293" r:id="rId30"/>
    <p:sldId id="294" r:id="rId31"/>
  </p:sldIdLst>
  <p:sldSz cx="9144000" cy="6858000" type="screen4x3"/>
  <p:notesSz cx="6950075" cy="92360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9A5095-15C7-4BF8-A3D7-9D6D94260068}" v="455" dt="2024-03-25T15:14:30.230"/>
    <p1510:client id="{C21FF0E9-61B3-4CCB-91C0-3D6843AA4B39}" v="16" dt="2024-03-25T18:36:03.2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5187" autoAdjust="0"/>
  </p:normalViewPr>
  <p:slideViewPr>
    <p:cSldViewPr snapToGrid="0">
      <p:cViewPr varScale="1">
        <p:scale>
          <a:sx n="108" d="100"/>
          <a:sy n="108" d="100"/>
        </p:scale>
        <p:origin x="1662" y="15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C21FF0E9-61B3-4CCB-91C0-3D6843AA4B39}"/>
    <pc:docChg chg="modSld">
      <pc:chgData name="Shelley Earl" userId="4951d46f-b647-4b3c-b822-5808962dcca8" providerId="ADAL" clId="{C21FF0E9-61B3-4CCB-91C0-3D6843AA4B39}" dt="2024-03-25T18:36:03.272" v="23"/>
      <pc:docMkLst>
        <pc:docMk/>
      </pc:docMkLst>
      <pc:sldChg chg="modSp mod">
        <pc:chgData name="Shelley Earl" userId="4951d46f-b647-4b3c-b822-5808962dcca8" providerId="ADAL" clId="{C21FF0E9-61B3-4CCB-91C0-3D6843AA4B39}" dt="2024-03-25T18:31:41.048" v="0" actId="1076"/>
        <pc:sldMkLst>
          <pc:docMk/>
          <pc:sldMk cId="2097898915" sldId="264"/>
        </pc:sldMkLst>
        <pc:spChg chg="mod">
          <ac:chgData name="Shelley Earl" userId="4951d46f-b647-4b3c-b822-5808962dcca8" providerId="ADAL" clId="{C21FF0E9-61B3-4CCB-91C0-3D6843AA4B39}" dt="2024-03-25T18:31:41.048" v="0" actId="1076"/>
          <ac:spMkLst>
            <pc:docMk/>
            <pc:sldMk cId="2097898915" sldId="264"/>
            <ac:spMk id="8" creationId="{87671493-6848-DBAF-4C09-CA1EE485840B}"/>
          </ac:spMkLst>
        </pc:spChg>
      </pc:sldChg>
      <pc:sldChg chg="modSp">
        <pc:chgData name="Shelley Earl" userId="4951d46f-b647-4b3c-b822-5808962dcca8" providerId="ADAL" clId="{C21FF0E9-61B3-4CCB-91C0-3D6843AA4B39}" dt="2024-03-25T18:31:50.759" v="7" actId="27636"/>
        <pc:sldMkLst>
          <pc:docMk/>
          <pc:sldMk cId="63271430" sldId="267"/>
        </pc:sldMkLst>
        <pc:graphicFrameChg chg="mod">
          <ac:chgData name="Shelley Earl" userId="4951d46f-b647-4b3c-b822-5808962dcca8" providerId="ADAL" clId="{C21FF0E9-61B3-4CCB-91C0-3D6843AA4B39}" dt="2024-03-25T18:31:50.759" v="7" actId="27636"/>
          <ac:graphicFrameMkLst>
            <pc:docMk/>
            <pc:sldMk cId="63271430" sldId="267"/>
            <ac:graphicFrameMk id="10" creationId="{504F7EF8-8C04-9AAF-56B7-B0D226A1EC06}"/>
          </ac:graphicFrameMkLst>
        </pc:graphicFrameChg>
      </pc:sldChg>
      <pc:sldChg chg="modSp mod">
        <pc:chgData name="Shelley Earl" userId="4951d46f-b647-4b3c-b822-5808962dcca8" providerId="ADAL" clId="{C21FF0E9-61B3-4CCB-91C0-3D6843AA4B39}" dt="2024-03-25T18:35:18.233" v="19" actId="255"/>
        <pc:sldMkLst>
          <pc:docMk/>
          <pc:sldMk cId="3481431200" sldId="274"/>
        </pc:sldMkLst>
        <pc:spChg chg="mod">
          <ac:chgData name="Shelley Earl" userId="4951d46f-b647-4b3c-b822-5808962dcca8" providerId="ADAL" clId="{C21FF0E9-61B3-4CCB-91C0-3D6843AA4B39}" dt="2024-03-25T18:32:06.138" v="10" actId="1076"/>
          <ac:spMkLst>
            <pc:docMk/>
            <pc:sldMk cId="3481431200" sldId="274"/>
            <ac:spMk id="10" creationId="{4973049F-7464-8CEC-6A0C-5251C1FF3DEA}"/>
          </ac:spMkLst>
        </pc:spChg>
        <pc:spChg chg="mod">
          <ac:chgData name="Shelley Earl" userId="4951d46f-b647-4b3c-b822-5808962dcca8" providerId="ADAL" clId="{C21FF0E9-61B3-4CCB-91C0-3D6843AA4B39}" dt="2024-03-25T18:32:15.900" v="13" actId="14100"/>
          <ac:spMkLst>
            <pc:docMk/>
            <pc:sldMk cId="3481431200" sldId="274"/>
            <ac:spMk id="12" creationId="{FC81ACA9-37AB-3848-2CFF-062B6FE76A28}"/>
          </ac:spMkLst>
        </pc:spChg>
        <pc:spChg chg="mod">
          <ac:chgData name="Shelley Earl" userId="4951d46f-b647-4b3c-b822-5808962dcca8" providerId="ADAL" clId="{C21FF0E9-61B3-4CCB-91C0-3D6843AA4B39}" dt="2024-03-25T18:32:25.425" v="14" actId="1076"/>
          <ac:spMkLst>
            <pc:docMk/>
            <pc:sldMk cId="3481431200" sldId="274"/>
            <ac:spMk id="13" creationId="{1A002978-A98E-CB9D-6EC7-7BD47016C50B}"/>
          </ac:spMkLst>
        </pc:spChg>
        <pc:graphicFrameChg chg="mod">
          <ac:chgData name="Shelley Earl" userId="4951d46f-b647-4b3c-b822-5808962dcca8" providerId="ADAL" clId="{C21FF0E9-61B3-4CCB-91C0-3D6843AA4B39}" dt="2024-03-25T18:35:18.233" v="19" actId="255"/>
          <ac:graphicFrameMkLst>
            <pc:docMk/>
            <pc:sldMk cId="3481431200" sldId="274"/>
            <ac:graphicFrameMk id="11" creationId="{5C8EE2C3-03A6-ABAF-3E18-D116DCC72FC4}"/>
          </ac:graphicFrameMkLst>
        </pc:graphicFrameChg>
      </pc:sldChg>
      <pc:sldChg chg="modSp">
        <pc:chgData name="Shelley Earl" userId="4951d46f-b647-4b3c-b822-5808962dcca8" providerId="ADAL" clId="{C21FF0E9-61B3-4CCB-91C0-3D6843AA4B39}" dt="2024-03-25T18:35:38.647" v="20" actId="255"/>
        <pc:sldMkLst>
          <pc:docMk/>
          <pc:sldMk cId="829028075" sldId="275"/>
        </pc:sldMkLst>
        <pc:graphicFrameChg chg="mod">
          <ac:chgData name="Shelley Earl" userId="4951d46f-b647-4b3c-b822-5808962dcca8" providerId="ADAL" clId="{C21FF0E9-61B3-4CCB-91C0-3D6843AA4B39}" dt="2024-03-25T18:35:38.647" v="20" actId="255"/>
          <ac:graphicFrameMkLst>
            <pc:docMk/>
            <pc:sldMk cId="829028075" sldId="275"/>
            <ac:graphicFrameMk id="13" creationId="{A605F809-B93D-1529-EAB4-05210895DD47}"/>
          </ac:graphicFrameMkLst>
        </pc:graphicFrameChg>
      </pc:sldChg>
      <pc:sldChg chg="modSp">
        <pc:chgData name="Shelley Earl" userId="4951d46f-b647-4b3c-b822-5808962dcca8" providerId="ADAL" clId="{C21FF0E9-61B3-4CCB-91C0-3D6843AA4B39}" dt="2024-03-25T18:35:54.319" v="22" actId="255"/>
        <pc:sldMkLst>
          <pc:docMk/>
          <pc:sldMk cId="969127443" sldId="278"/>
        </pc:sldMkLst>
        <pc:graphicFrameChg chg="mod">
          <ac:chgData name="Shelley Earl" userId="4951d46f-b647-4b3c-b822-5808962dcca8" providerId="ADAL" clId="{C21FF0E9-61B3-4CCB-91C0-3D6843AA4B39}" dt="2024-03-25T18:35:54.319" v="22" actId="255"/>
          <ac:graphicFrameMkLst>
            <pc:docMk/>
            <pc:sldMk cId="969127443" sldId="278"/>
            <ac:graphicFrameMk id="8" creationId="{25435880-DE83-4AE6-0C0C-E8BEDD12548D}"/>
          </ac:graphicFrameMkLst>
        </pc:graphicFrameChg>
      </pc:sldChg>
      <pc:sldChg chg="modSp">
        <pc:chgData name="Shelley Earl" userId="4951d46f-b647-4b3c-b822-5808962dcca8" providerId="ADAL" clId="{C21FF0E9-61B3-4CCB-91C0-3D6843AA4B39}" dt="2024-03-25T18:36:03.272" v="23"/>
        <pc:sldMkLst>
          <pc:docMk/>
          <pc:sldMk cId="1794826995" sldId="280"/>
        </pc:sldMkLst>
        <pc:graphicFrameChg chg="mod">
          <ac:chgData name="Shelley Earl" userId="4951d46f-b647-4b3c-b822-5808962dcca8" providerId="ADAL" clId="{C21FF0E9-61B3-4CCB-91C0-3D6843AA4B39}" dt="2024-03-25T18:36:03.272" v="23"/>
          <ac:graphicFrameMkLst>
            <pc:docMk/>
            <pc:sldMk cId="1794826995" sldId="280"/>
            <ac:graphicFrameMk id="4" creationId="{F066EC6C-DCB6-3357-ABD4-0298BB5F32F6}"/>
          </ac:graphicFrameMkLst>
        </pc:graphicFrameChg>
      </pc:sldChg>
    </pc:docChg>
  </pc:docChgLst>
  <pc:docChgLst>
    <pc:chgData name="Shelley Earl" userId="4951d46f-b647-4b3c-b822-5808962dcca8" providerId="ADAL" clId="{5F9A5095-15C7-4BF8-A3D7-9D6D94260068}"/>
    <pc:docChg chg="undo custSel addSld delSld modSld sldOrd">
      <pc:chgData name="Shelley Earl" userId="4951d46f-b647-4b3c-b822-5808962dcca8" providerId="ADAL" clId="{5F9A5095-15C7-4BF8-A3D7-9D6D94260068}" dt="2024-03-25T15:16:22.607" v="1141" actId="47"/>
      <pc:docMkLst>
        <pc:docMk/>
      </pc:docMkLst>
      <pc:sldChg chg="modSp mod">
        <pc:chgData name="Shelley Earl" userId="4951d46f-b647-4b3c-b822-5808962dcca8" providerId="ADAL" clId="{5F9A5095-15C7-4BF8-A3D7-9D6D94260068}" dt="2024-03-25T15:13:42.543" v="1028" actId="20577"/>
        <pc:sldMkLst>
          <pc:docMk/>
          <pc:sldMk cId="2097898915" sldId="264"/>
        </pc:sldMkLst>
        <pc:spChg chg="mod">
          <ac:chgData name="Shelley Earl" userId="4951d46f-b647-4b3c-b822-5808962dcca8" providerId="ADAL" clId="{5F9A5095-15C7-4BF8-A3D7-9D6D94260068}" dt="2024-03-25T15:13:42.543" v="1028" actId="20577"/>
          <ac:spMkLst>
            <pc:docMk/>
            <pc:sldMk cId="2097898915" sldId="264"/>
            <ac:spMk id="8" creationId="{87671493-6848-DBAF-4C09-CA1EE485840B}"/>
          </ac:spMkLst>
        </pc:spChg>
      </pc:sldChg>
      <pc:sldChg chg="modSp">
        <pc:chgData name="Shelley Earl" userId="4951d46f-b647-4b3c-b822-5808962dcca8" providerId="ADAL" clId="{5F9A5095-15C7-4BF8-A3D7-9D6D94260068}" dt="2024-03-25T14:32:37.392" v="19" actId="20577"/>
        <pc:sldMkLst>
          <pc:docMk/>
          <pc:sldMk cId="3009587968" sldId="268"/>
        </pc:sldMkLst>
        <pc:graphicFrameChg chg="mod">
          <ac:chgData name="Shelley Earl" userId="4951d46f-b647-4b3c-b822-5808962dcca8" providerId="ADAL" clId="{5F9A5095-15C7-4BF8-A3D7-9D6D94260068}" dt="2024-03-25T14:32:37.392" v="19" actId="20577"/>
          <ac:graphicFrameMkLst>
            <pc:docMk/>
            <pc:sldMk cId="3009587968" sldId="268"/>
            <ac:graphicFrameMk id="11" creationId="{29D13C8E-8DED-44C4-E9EA-CA8A2E541890}"/>
          </ac:graphicFrameMkLst>
        </pc:graphicFrameChg>
      </pc:sldChg>
      <pc:sldChg chg="modSp mod">
        <pc:chgData name="Shelley Earl" userId="4951d46f-b647-4b3c-b822-5808962dcca8" providerId="ADAL" clId="{5F9A5095-15C7-4BF8-A3D7-9D6D94260068}" dt="2024-03-25T14:39:49.824" v="312" actId="20577"/>
        <pc:sldMkLst>
          <pc:docMk/>
          <pc:sldMk cId="2177728087" sldId="272"/>
        </pc:sldMkLst>
        <pc:spChg chg="mod">
          <ac:chgData name="Shelley Earl" userId="4951d46f-b647-4b3c-b822-5808962dcca8" providerId="ADAL" clId="{5F9A5095-15C7-4BF8-A3D7-9D6D94260068}" dt="2024-03-25T14:39:49.824" v="312" actId="20577"/>
          <ac:spMkLst>
            <pc:docMk/>
            <pc:sldMk cId="2177728087" sldId="272"/>
            <ac:spMk id="8" creationId="{F639AE83-D0E3-35F9-4EDD-3B02A67DEA40}"/>
          </ac:spMkLst>
        </pc:spChg>
      </pc:sldChg>
      <pc:sldChg chg="modSp mod">
        <pc:chgData name="Shelley Earl" userId="4951d46f-b647-4b3c-b822-5808962dcca8" providerId="ADAL" clId="{5F9A5095-15C7-4BF8-A3D7-9D6D94260068}" dt="2024-03-25T14:35:34.842" v="127" actId="6549"/>
        <pc:sldMkLst>
          <pc:docMk/>
          <pc:sldMk cId="832071717" sldId="273"/>
        </pc:sldMkLst>
        <pc:spChg chg="mod">
          <ac:chgData name="Shelley Earl" userId="4951d46f-b647-4b3c-b822-5808962dcca8" providerId="ADAL" clId="{5F9A5095-15C7-4BF8-A3D7-9D6D94260068}" dt="2024-03-25T14:35:34.842" v="127" actId="6549"/>
          <ac:spMkLst>
            <pc:docMk/>
            <pc:sldMk cId="832071717" sldId="273"/>
            <ac:spMk id="8" creationId="{150F00E2-00FB-9955-A67E-6B6D62965415}"/>
          </ac:spMkLst>
        </pc:spChg>
      </pc:sldChg>
      <pc:sldChg chg="modSp mod">
        <pc:chgData name="Shelley Earl" userId="4951d46f-b647-4b3c-b822-5808962dcca8" providerId="ADAL" clId="{5F9A5095-15C7-4BF8-A3D7-9D6D94260068}" dt="2024-03-25T14:37:15.329" v="155" actId="20577"/>
        <pc:sldMkLst>
          <pc:docMk/>
          <pc:sldMk cId="3481431200" sldId="274"/>
        </pc:sldMkLst>
        <pc:spChg chg="mod">
          <ac:chgData name="Shelley Earl" userId="4951d46f-b647-4b3c-b822-5808962dcca8" providerId="ADAL" clId="{5F9A5095-15C7-4BF8-A3D7-9D6D94260068}" dt="2024-03-25T14:37:15.329" v="155" actId="20577"/>
          <ac:spMkLst>
            <pc:docMk/>
            <pc:sldMk cId="3481431200" sldId="274"/>
            <ac:spMk id="15" creationId="{A57ADB30-AA57-FF7E-1163-C8F0957A0B76}"/>
          </ac:spMkLst>
        </pc:spChg>
        <pc:graphicFrameChg chg="mod">
          <ac:chgData name="Shelley Earl" userId="4951d46f-b647-4b3c-b822-5808962dcca8" providerId="ADAL" clId="{5F9A5095-15C7-4BF8-A3D7-9D6D94260068}" dt="2024-03-25T14:36:32.112" v="142" actId="20577"/>
          <ac:graphicFrameMkLst>
            <pc:docMk/>
            <pc:sldMk cId="3481431200" sldId="274"/>
            <ac:graphicFrameMk id="11" creationId="{5C8EE2C3-03A6-ABAF-3E18-D116DCC72FC4}"/>
          </ac:graphicFrameMkLst>
        </pc:graphicFrameChg>
      </pc:sldChg>
      <pc:sldChg chg="modSp">
        <pc:chgData name="Shelley Earl" userId="4951d46f-b647-4b3c-b822-5808962dcca8" providerId="ADAL" clId="{5F9A5095-15C7-4BF8-A3D7-9D6D94260068}" dt="2024-03-25T14:39:19.046" v="306" actId="115"/>
        <pc:sldMkLst>
          <pc:docMk/>
          <pc:sldMk cId="829028075" sldId="275"/>
        </pc:sldMkLst>
        <pc:graphicFrameChg chg="mod">
          <ac:chgData name="Shelley Earl" userId="4951d46f-b647-4b3c-b822-5808962dcca8" providerId="ADAL" clId="{5F9A5095-15C7-4BF8-A3D7-9D6D94260068}" dt="2024-03-25T14:39:19.046" v="306" actId="115"/>
          <ac:graphicFrameMkLst>
            <pc:docMk/>
            <pc:sldMk cId="829028075" sldId="275"/>
            <ac:graphicFrameMk id="13" creationId="{A605F809-B93D-1529-EAB4-05210895DD47}"/>
          </ac:graphicFrameMkLst>
        </pc:graphicFrameChg>
      </pc:sldChg>
      <pc:sldChg chg="modSp mod">
        <pc:chgData name="Shelley Earl" userId="4951d46f-b647-4b3c-b822-5808962dcca8" providerId="ADAL" clId="{5F9A5095-15C7-4BF8-A3D7-9D6D94260068}" dt="2024-03-25T14:39:41.444" v="310" actId="20577"/>
        <pc:sldMkLst>
          <pc:docMk/>
          <pc:sldMk cId="639071407" sldId="276"/>
        </pc:sldMkLst>
        <pc:spChg chg="mod">
          <ac:chgData name="Shelley Earl" userId="4951d46f-b647-4b3c-b822-5808962dcca8" providerId="ADAL" clId="{5F9A5095-15C7-4BF8-A3D7-9D6D94260068}" dt="2024-03-25T14:39:41.444" v="310" actId="20577"/>
          <ac:spMkLst>
            <pc:docMk/>
            <pc:sldMk cId="639071407" sldId="276"/>
            <ac:spMk id="3" creationId="{D9823FF2-551E-7D6F-6CCD-EA59870F378E}"/>
          </ac:spMkLst>
        </pc:spChg>
      </pc:sldChg>
      <pc:sldChg chg="modSp mod">
        <pc:chgData name="Shelley Earl" userId="4951d46f-b647-4b3c-b822-5808962dcca8" providerId="ADAL" clId="{5F9A5095-15C7-4BF8-A3D7-9D6D94260068}" dt="2024-03-25T14:40:58.944" v="318" actId="6549"/>
        <pc:sldMkLst>
          <pc:docMk/>
          <pc:sldMk cId="4165849477" sldId="277"/>
        </pc:sldMkLst>
        <pc:spChg chg="mod">
          <ac:chgData name="Shelley Earl" userId="4951d46f-b647-4b3c-b822-5808962dcca8" providerId="ADAL" clId="{5F9A5095-15C7-4BF8-A3D7-9D6D94260068}" dt="2024-03-25T14:40:58.944" v="318" actId="6549"/>
          <ac:spMkLst>
            <pc:docMk/>
            <pc:sldMk cId="4165849477" sldId="277"/>
            <ac:spMk id="3" creationId="{800FB85F-FAA5-6EF4-2934-3E9F00A24524}"/>
          </ac:spMkLst>
        </pc:spChg>
      </pc:sldChg>
      <pc:sldChg chg="modSp mod">
        <pc:chgData name="Shelley Earl" userId="4951d46f-b647-4b3c-b822-5808962dcca8" providerId="ADAL" clId="{5F9A5095-15C7-4BF8-A3D7-9D6D94260068}" dt="2024-03-25T14:43:50.620" v="320" actId="1076"/>
        <pc:sldMkLst>
          <pc:docMk/>
          <pc:sldMk cId="969127443" sldId="278"/>
        </pc:sldMkLst>
        <pc:spChg chg="mod">
          <ac:chgData name="Shelley Earl" userId="4951d46f-b647-4b3c-b822-5808962dcca8" providerId="ADAL" clId="{5F9A5095-15C7-4BF8-A3D7-9D6D94260068}" dt="2024-03-25T14:43:50.620" v="320" actId="1076"/>
          <ac:spMkLst>
            <pc:docMk/>
            <pc:sldMk cId="969127443" sldId="278"/>
            <ac:spMk id="9" creationId="{72F99416-9CFC-4A6D-56C2-F38A9754D7B6}"/>
          </ac:spMkLst>
        </pc:spChg>
        <pc:graphicFrameChg chg="mod">
          <ac:chgData name="Shelley Earl" userId="4951d46f-b647-4b3c-b822-5808962dcca8" providerId="ADAL" clId="{5F9A5095-15C7-4BF8-A3D7-9D6D94260068}" dt="2024-03-25T14:42:49.488" v="319" actId="20577"/>
          <ac:graphicFrameMkLst>
            <pc:docMk/>
            <pc:sldMk cId="969127443" sldId="278"/>
            <ac:graphicFrameMk id="8" creationId="{25435880-DE83-4AE6-0C0C-E8BEDD12548D}"/>
          </ac:graphicFrameMkLst>
        </pc:graphicFrameChg>
      </pc:sldChg>
      <pc:sldChg chg="modSp">
        <pc:chgData name="Shelley Earl" userId="4951d46f-b647-4b3c-b822-5808962dcca8" providerId="ADAL" clId="{5F9A5095-15C7-4BF8-A3D7-9D6D94260068}" dt="2024-03-25T14:49:50.648" v="536" actId="20577"/>
        <pc:sldMkLst>
          <pc:docMk/>
          <pc:sldMk cId="4199026466" sldId="279"/>
        </pc:sldMkLst>
        <pc:spChg chg="mod">
          <ac:chgData name="Shelley Earl" userId="4951d46f-b647-4b3c-b822-5808962dcca8" providerId="ADAL" clId="{5F9A5095-15C7-4BF8-A3D7-9D6D94260068}" dt="2024-03-25T14:49:50.648" v="536" actId="20577"/>
          <ac:spMkLst>
            <pc:docMk/>
            <pc:sldMk cId="4199026466" sldId="279"/>
            <ac:spMk id="3" creationId="{7A675047-B99C-FF66-70F8-F831DAF17610}"/>
          </ac:spMkLst>
        </pc:spChg>
      </pc:sldChg>
      <pc:sldChg chg="modSp">
        <pc:chgData name="Shelley Earl" userId="4951d46f-b647-4b3c-b822-5808962dcca8" providerId="ADAL" clId="{5F9A5095-15C7-4BF8-A3D7-9D6D94260068}" dt="2024-03-25T14:51:44.613" v="544"/>
        <pc:sldMkLst>
          <pc:docMk/>
          <pc:sldMk cId="1794826995" sldId="280"/>
        </pc:sldMkLst>
        <pc:graphicFrameChg chg="mod">
          <ac:chgData name="Shelley Earl" userId="4951d46f-b647-4b3c-b822-5808962dcca8" providerId="ADAL" clId="{5F9A5095-15C7-4BF8-A3D7-9D6D94260068}" dt="2024-03-25T14:51:44.613" v="544"/>
          <ac:graphicFrameMkLst>
            <pc:docMk/>
            <pc:sldMk cId="1794826995" sldId="280"/>
            <ac:graphicFrameMk id="4" creationId="{F066EC6C-DCB6-3357-ABD4-0298BB5F32F6}"/>
          </ac:graphicFrameMkLst>
        </pc:graphicFrameChg>
      </pc:sldChg>
      <pc:sldChg chg="modSp mod">
        <pc:chgData name="Shelley Earl" userId="4951d46f-b647-4b3c-b822-5808962dcca8" providerId="ADAL" clId="{5F9A5095-15C7-4BF8-A3D7-9D6D94260068}" dt="2024-03-25T14:52:39.794" v="548" actId="6549"/>
        <pc:sldMkLst>
          <pc:docMk/>
          <pc:sldMk cId="981669481" sldId="282"/>
        </pc:sldMkLst>
        <pc:spChg chg="mod">
          <ac:chgData name="Shelley Earl" userId="4951d46f-b647-4b3c-b822-5808962dcca8" providerId="ADAL" clId="{5F9A5095-15C7-4BF8-A3D7-9D6D94260068}" dt="2024-03-25T14:52:39.794" v="548" actId="6549"/>
          <ac:spMkLst>
            <pc:docMk/>
            <pc:sldMk cId="981669481" sldId="282"/>
            <ac:spMk id="3" creationId="{1C66F432-C4F6-FCEE-F1EB-C13A0EC3264F}"/>
          </ac:spMkLst>
        </pc:spChg>
      </pc:sldChg>
      <pc:sldChg chg="modSp mod">
        <pc:chgData name="Shelley Earl" userId="4951d46f-b647-4b3c-b822-5808962dcca8" providerId="ADAL" clId="{5F9A5095-15C7-4BF8-A3D7-9D6D94260068}" dt="2024-03-25T14:54:22.122" v="607" actId="20577"/>
        <pc:sldMkLst>
          <pc:docMk/>
          <pc:sldMk cId="1411236543" sldId="283"/>
        </pc:sldMkLst>
        <pc:spChg chg="mod">
          <ac:chgData name="Shelley Earl" userId="4951d46f-b647-4b3c-b822-5808962dcca8" providerId="ADAL" clId="{5F9A5095-15C7-4BF8-A3D7-9D6D94260068}" dt="2024-03-25T14:54:22.122" v="607" actId="20577"/>
          <ac:spMkLst>
            <pc:docMk/>
            <pc:sldMk cId="1411236543" sldId="283"/>
            <ac:spMk id="9" creationId="{87FEABC1-0E2B-CA86-F809-3DA3A9B36182}"/>
          </ac:spMkLst>
        </pc:spChg>
      </pc:sldChg>
      <pc:sldChg chg="delSp modSp mod ord delAnim">
        <pc:chgData name="Shelley Earl" userId="4951d46f-b647-4b3c-b822-5808962dcca8" providerId="ADAL" clId="{5F9A5095-15C7-4BF8-A3D7-9D6D94260068}" dt="2024-03-25T15:03:37.909" v="696"/>
        <pc:sldMkLst>
          <pc:docMk/>
          <pc:sldMk cId="30537229" sldId="284"/>
        </pc:sldMkLst>
        <pc:spChg chg="mod">
          <ac:chgData name="Shelley Earl" userId="4951d46f-b647-4b3c-b822-5808962dcca8" providerId="ADAL" clId="{5F9A5095-15C7-4BF8-A3D7-9D6D94260068}" dt="2024-03-25T14:56:02.207" v="623" actId="20577"/>
          <ac:spMkLst>
            <pc:docMk/>
            <pc:sldMk cId="30537229" sldId="284"/>
            <ac:spMk id="2" creationId="{4BE1F89A-BFF8-A65E-BF48-AEE160C282E6}"/>
          </ac:spMkLst>
        </pc:spChg>
        <pc:spChg chg="mod">
          <ac:chgData name="Shelley Earl" userId="4951d46f-b647-4b3c-b822-5808962dcca8" providerId="ADAL" clId="{5F9A5095-15C7-4BF8-A3D7-9D6D94260068}" dt="2024-03-25T15:03:17.553" v="693" actId="6549"/>
          <ac:spMkLst>
            <pc:docMk/>
            <pc:sldMk cId="30537229" sldId="284"/>
            <ac:spMk id="3" creationId="{EE3BD1DC-4EC2-EFA1-8D3E-8824C4794976}"/>
          </ac:spMkLst>
        </pc:spChg>
        <pc:spChg chg="del">
          <ac:chgData name="Shelley Earl" userId="4951d46f-b647-4b3c-b822-5808962dcca8" providerId="ADAL" clId="{5F9A5095-15C7-4BF8-A3D7-9D6D94260068}" dt="2024-03-25T14:57:04.135" v="634" actId="478"/>
          <ac:spMkLst>
            <pc:docMk/>
            <pc:sldMk cId="30537229" sldId="284"/>
            <ac:spMk id="14" creationId="{321EC7B0-8C11-0E94-9273-7579EDAB8D65}"/>
          </ac:spMkLst>
        </pc:spChg>
        <pc:graphicFrameChg chg="mod">
          <ac:chgData name="Shelley Earl" userId="4951d46f-b647-4b3c-b822-5808962dcca8" providerId="ADAL" clId="{5F9A5095-15C7-4BF8-A3D7-9D6D94260068}" dt="2024-03-25T15:03:23.413" v="694" actId="1076"/>
          <ac:graphicFrameMkLst>
            <pc:docMk/>
            <pc:sldMk cId="30537229" sldId="284"/>
            <ac:graphicFrameMk id="4" creationId="{B3FD9947-2372-778F-84F0-D2FAEFF1D8DE}"/>
          </ac:graphicFrameMkLst>
        </pc:graphicFrameChg>
      </pc:sldChg>
      <pc:sldChg chg="modSp mod modAnim">
        <pc:chgData name="Shelley Earl" userId="4951d46f-b647-4b3c-b822-5808962dcca8" providerId="ADAL" clId="{5F9A5095-15C7-4BF8-A3D7-9D6D94260068}" dt="2024-03-25T15:01:31.443" v="680"/>
        <pc:sldMkLst>
          <pc:docMk/>
          <pc:sldMk cId="4282014508" sldId="285"/>
        </pc:sldMkLst>
        <pc:spChg chg="mod">
          <ac:chgData name="Shelley Earl" userId="4951d46f-b647-4b3c-b822-5808962dcca8" providerId="ADAL" clId="{5F9A5095-15C7-4BF8-A3D7-9D6D94260068}" dt="2024-03-25T14:59:09.152" v="644" actId="20577"/>
          <ac:spMkLst>
            <pc:docMk/>
            <pc:sldMk cId="4282014508" sldId="285"/>
            <ac:spMk id="8" creationId="{94E63CD8-53B4-AF1A-FBA4-05945FE997A1}"/>
          </ac:spMkLst>
        </pc:spChg>
        <pc:spChg chg="mod">
          <ac:chgData name="Shelley Earl" userId="4951d46f-b647-4b3c-b822-5808962dcca8" providerId="ADAL" clId="{5F9A5095-15C7-4BF8-A3D7-9D6D94260068}" dt="2024-03-25T15:01:14.846" v="679" actId="6549"/>
          <ac:spMkLst>
            <pc:docMk/>
            <pc:sldMk cId="4282014508" sldId="285"/>
            <ac:spMk id="9" creationId="{F525208C-D97C-1080-772A-E506B67C4128}"/>
          </ac:spMkLst>
        </pc:spChg>
      </pc:sldChg>
      <pc:sldChg chg="delSp modSp mod">
        <pc:chgData name="Shelley Earl" userId="4951d46f-b647-4b3c-b822-5808962dcca8" providerId="ADAL" clId="{5F9A5095-15C7-4BF8-A3D7-9D6D94260068}" dt="2024-03-25T15:02:40.717" v="692" actId="20577"/>
        <pc:sldMkLst>
          <pc:docMk/>
          <pc:sldMk cId="191158308" sldId="286"/>
        </pc:sldMkLst>
        <pc:spChg chg="mod">
          <ac:chgData name="Shelley Earl" userId="4951d46f-b647-4b3c-b822-5808962dcca8" providerId="ADAL" clId="{5F9A5095-15C7-4BF8-A3D7-9D6D94260068}" dt="2024-03-25T15:01:50.720" v="681" actId="20577"/>
          <ac:spMkLst>
            <pc:docMk/>
            <pc:sldMk cId="191158308" sldId="286"/>
            <ac:spMk id="2" creationId="{CEED5DCA-792C-6FB9-BAC9-D3F76F7F9593}"/>
          </ac:spMkLst>
        </pc:spChg>
        <pc:spChg chg="del">
          <ac:chgData name="Shelley Earl" userId="4951d46f-b647-4b3c-b822-5808962dcca8" providerId="ADAL" clId="{5F9A5095-15C7-4BF8-A3D7-9D6D94260068}" dt="2024-03-25T15:02:19.422" v="691" actId="478"/>
          <ac:spMkLst>
            <pc:docMk/>
            <pc:sldMk cId="191158308" sldId="286"/>
            <ac:spMk id="17" creationId="{BC8B5FDD-0F69-C5BD-08B5-438B99EB2666}"/>
          </ac:spMkLst>
        </pc:spChg>
        <pc:graphicFrameChg chg="mod">
          <ac:chgData name="Shelley Earl" userId="4951d46f-b647-4b3c-b822-5808962dcca8" providerId="ADAL" clId="{5F9A5095-15C7-4BF8-A3D7-9D6D94260068}" dt="2024-03-25T15:02:40.717" v="692" actId="20577"/>
          <ac:graphicFrameMkLst>
            <pc:docMk/>
            <pc:sldMk cId="191158308" sldId="286"/>
            <ac:graphicFrameMk id="18" creationId="{F2583A9D-281C-4C52-9347-26153EBC053D}"/>
          </ac:graphicFrameMkLst>
        </pc:graphicFrameChg>
      </pc:sldChg>
      <pc:sldChg chg="modSp mod">
        <pc:chgData name="Shelley Earl" userId="4951d46f-b647-4b3c-b822-5808962dcca8" providerId="ADAL" clId="{5F9A5095-15C7-4BF8-A3D7-9D6D94260068}" dt="2024-03-25T15:04:55.916" v="736" actId="20577"/>
        <pc:sldMkLst>
          <pc:docMk/>
          <pc:sldMk cId="561251587" sldId="287"/>
        </pc:sldMkLst>
        <pc:spChg chg="mod">
          <ac:chgData name="Shelley Earl" userId="4951d46f-b647-4b3c-b822-5808962dcca8" providerId="ADAL" clId="{5F9A5095-15C7-4BF8-A3D7-9D6D94260068}" dt="2024-03-25T15:04:55.916" v="736" actId="20577"/>
          <ac:spMkLst>
            <pc:docMk/>
            <pc:sldMk cId="561251587" sldId="287"/>
            <ac:spMk id="14" creationId="{A1FFE694-DF65-A7CA-A6CD-EE2D7965DCCB}"/>
          </ac:spMkLst>
        </pc:spChg>
      </pc:sldChg>
      <pc:sldChg chg="del">
        <pc:chgData name="Shelley Earl" userId="4951d46f-b647-4b3c-b822-5808962dcca8" providerId="ADAL" clId="{5F9A5095-15C7-4BF8-A3D7-9D6D94260068}" dt="2024-03-25T15:05:59.632" v="737" actId="47"/>
        <pc:sldMkLst>
          <pc:docMk/>
          <pc:sldMk cId="2347924938" sldId="289"/>
        </pc:sldMkLst>
      </pc:sldChg>
      <pc:sldChg chg="addSp delSp modSp mod">
        <pc:chgData name="Shelley Earl" userId="4951d46f-b647-4b3c-b822-5808962dcca8" providerId="ADAL" clId="{5F9A5095-15C7-4BF8-A3D7-9D6D94260068}" dt="2024-03-25T15:14:55.107" v="1077" actId="1076"/>
        <pc:sldMkLst>
          <pc:docMk/>
          <pc:sldMk cId="3114590533" sldId="290"/>
        </pc:sldMkLst>
        <pc:spChg chg="mod">
          <ac:chgData name="Shelley Earl" userId="4951d46f-b647-4b3c-b822-5808962dcca8" providerId="ADAL" clId="{5F9A5095-15C7-4BF8-A3D7-9D6D94260068}" dt="2024-03-25T15:13:03.647" v="915" actId="20577"/>
          <ac:spMkLst>
            <pc:docMk/>
            <pc:sldMk cId="3114590533" sldId="290"/>
            <ac:spMk id="2" creationId="{9D6A7B45-5B3C-3DB0-1BE4-A2E8E5DFB955}"/>
          </ac:spMkLst>
        </pc:spChg>
        <pc:spChg chg="add mod">
          <ac:chgData name="Shelley Earl" userId="4951d46f-b647-4b3c-b822-5808962dcca8" providerId="ADAL" clId="{5F9A5095-15C7-4BF8-A3D7-9D6D94260068}" dt="2024-03-25T15:14:48.487" v="1075" actId="1076"/>
          <ac:spMkLst>
            <pc:docMk/>
            <pc:sldMk cId="3114590533" sldId="290"/>
            <ac:spMk id="3" creationId="{698B0EE6-D2E3-A34A-D0E6-B7CFF8ADAFCF}"/>
          </ac:spMkLst>
        </pc:spChg>
        <pc:spChg chg="del">
          <ac:chgData name="Shelley Earl" userId="4951d46f-b647-4b3c-b822-5808962dcca8" providerId="ADAL" clId="{5F9A5095-15C7-4BF8-A3D7-9D6D94260068}" dt="2024-03-25T15:14:52.349" v="1076" actId="478"/>
          <ac:spMkLst>
            <pc:docMk/>
            <pc:sldMk cId="3114590533" sldId="290"/>
            <ac:spMk id="11" creationId="{F1E7C49D-168F-967C-A68B-1627AE233196}"/>
          </ac:spMkLst>
        </pc:spChg>
        <pc:graphicFrameChg chg="mod">
          <ac:chgData name="Shelley Earl" userId="4951d46f-b647-4b3c-b822-5808962dcca8" providerId="ADAL" clId="{5F9A5095-15C7-4BF8-A3D7-9D6D94260068}" dt="2024-03-25T15:14:55.107" v="1077" actId="1076"/>
          <ac:graphicFrameMkLst>
            <pc:docMk/>
            <pc:sldMk cId="3114590533" sldId="290"/>
            <ac:graphicFrameMk id="8" creationId="{A78DC15E-F928-C464-FBA0-36933CA4DB49}"/>
          </ac:graphicFrameMkLst>
        </pc:graphicFrameChg>
      </pc:sldChg>
      <pc:sldChg chg="modSp mod">
        <pc:chgData name="Shelley Earl" userId="4951d46f-b647-4b3c-b822-5808962dcca8" providerId="ADAL" clId="{5F9A5095-15C7-4BF8-A3D7-9D6D94260068}" dt="2024-03-25T15:15:31.877" v="1111" actId="20577"/>
        <pc:sldMkLst>
          <pc:docMk/>
          <pc:sldMk cId="894928972" sldId="291"/>
        </pc:sldMkLst>
        <pc:spChg chg="mod">
          <ac:chgData name="Shelley Earl" userId="4951d46f-b647-4b3c-b822-5808962dcca8" providerId="ADAL" clId="{5F9A5095-15C7-4BF8-A3D7-9D6D94260068}" dt="2024-03-25T15:15:31.877" v="1111" actId="20577"/>
          <ac:spMkLst>
            <pc:docMk/>
            <pc:sldMk cId="894928972" sldId="291"/>
            <ac:spMk id="3" creationId="{D6504A50-C316-495F-A22D-CFF6B8954D8D}"/>
          </ac:spMkLst>
        </pc:spChg>
      </pc:sldChg>
      <pc:sldChg chg="modSp mod">
        <pc:chgData name="Shelley Earl" userId="4951d46f-b647-4b3c-b822-5808962dcca8" providerId="ADAL" clId="{5F9A5095-15C7-4BF8-A3D7-9D6D94260068}" dt="2024-03-25T15:16:15.672" v="1140" actId="6549"/>
        <pc:sldMkLst>
          <pc:docMk/>
          <pc:sldMk cId="3790215164" sldId="293"/>
        </pc:sldMkLst>
        <pc:spChg chg="mod">
          <ac:chgData name="Shelley Earl" userId="4951d46f-b647-4b3c-b822-5808962dcca8" providerId="ADAL" clId="{5F9A5095-15C7-4BF8-A3D7-9D6D94260068}" dt="2024-03-25T15:16:15.672" v="1140" actId="6549"/>
          <ac:spMkLst>
            <pc:docMk/>
            <pc:sldMk cId="3790215164" sldId="293"/>
            <ac:spMk id="3" creationId="{2A8CED9B-3AA4-6657-52D7-A3AE595B4F07}"/>
          </ac:spMkLst>
        </pc:spChg>
      </pc:sldChg>
      <pc:sldChg chg="del">
        <pc:chgData name="Shelley Earl" userId="4951d46f-b647-4b3c-b822-5808962dcca8" providerId="ADAL" clId="{5F9A5095-15C7-4BF8-A3D7-9D6D94260068}" dt="2024-03-25T15:16:22.607" v="1141" actId="47"/>
        <pc:sldMkLst>
          <pc:docMk/>
          <pc:sldMk cId="1834208117" sldId="3126"/>
        </pc:sldMkLst>
      </pc:sldChg>
      <pc:sldChg chg="addSp delSp modSp new mod">
        <pc:chgData name="Shelley Earl" userId="4951d46f-b647-4b3c-b822-5808962dcca8" providerId="ADAL" clId="{5F9A5095-15C7-4BF8-A3D7-9D6D94260068}" dt="2024-03-25T15:12:28.427" v="901" actId="255"/>
        <pc:sldMkLst>
          <pc:docMk/>
          <pc:sldMk cId="3534279248" sldId="3127"/>
        </pc:sldMkLst>
        <pc:spChg chg="mod">
          <ac:chgData name="Shelley Earl" userId="4951d46f-b647-4b3c-b822-5808962dcca8" providerId="ADAL" clId="{5F9A5095-15C7-4BF8-A3D7-9D6D94260068}" dt="2024-03-25T15:08:42.113" v="772" actId="26606"/>
          <ac:spMkLst>
            <pc:docMk/>
            <pc:sldMk cId="3534279248" sldId="3127"/>
            <ac:spMk id="2" creationId="{73CB6B62-796B-C1D4-4763-5A20739A7519}"/>
          </ac:spMkLst>
        </pc:spChg>
        <pc:spChg chg="del">
          <ac:chgData name="Shelley Earl" userId="4951d46f-b647-4b3c-b822-5808962dcca8" providerId="ADAL" clId="{5F9A5095-15C7-4BF8-A3D7-9D6D94260068}" dt="2024-03-25T15:08:42.113" v="772" actId="26606"/>
          <ac:spMkLst>
            <pc:docMk/>
            <pc:sldMk cId="3534279248" sldId="3127"/>
            <ac:spMk id="3" creationId="{BAE13260-81AC-2050-58FE-5B34388EE05B}"/>
          </ac:spMkLst>
        </pc:spChg>
        <pc:spChg chg="del">
          <ac:chgData name="Shelley Earl" userId="4951d46f-b647-4b3c-b822-5808962dcca8" providerId="ADAL" clId="{5F9A5095-15C7-4BF8-A3D7-9D6D94260068}" dt="2024-03-25T15:08:26.438" v="771" actId="22"/>
          <ac:spMkLst>
            <pc:docMk/>
            <pc:sldMk cId="3534279248" sldId="3127"/>
            <ac:spMk id="4" creationId="{4BC82226-280B-AEB8-5190-C1A2D1758C9C}"/>
          </ac:spMkLst>
        </pc:spChg>
        <pc:spChg chg="add mod">
          <ac:chgData name="Shelley Earl" userId="4951d46f-b647-4b3c-b822-5808962dcca8" providerId="ADAL" clId="{5F9A5095-15C7-4BF8-A3D7-9D6D94260068}" dt="2024-03-25T15:12:28.427" v="901" actId="255"/>
          <ac:spMkLst>
            <pc:docMk/>
            <pc:sldMk cId="3534279248" sldId="3127"/>
            <ac:spMk id="11" creationId="{6C1BA9E3-9396-DBB5-8249-DC0FDEC133B2}"/>
          </ac:spMkLst>
        </pc:spChg>
        <pc:picChg chg="add mod ord">
          <ac:chgData name="Shelley Earl" userId="4951d46f-b647-4b3c-b822-5808962dcca8" providerId="ADAL" clId="{5F9A5095-15C7-4BF8-A3D7-9D6D94260068}" dt="2024-03-25T15:08:43.556" v="773" actId="27614"/>
          <ac:picMkLst>
            <pc:docMk/>
            <pc:sldMk cId="3534279248" sldId="3127"/>
            <ac:picMk id="6" creationId="{486A5F75-0C93-46BB-29E1-EEFA342C3D92}"/>
          </ac:picMkLst>
        </pc:pic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ata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ata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1D878-DD47-4554-B918-FF8182C854D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4872F20E-C901-4018-94B9-DA055639A969}" type="parTrans" cxnId="{08A4399E-852F-4A07-A9FE-37D70C16336F}">
      <dgm:prSet/>
      <dgm:spPr/>
      <dgm:t>
        <a:bodyPr/>
        <a:lstStyle/>
        <a:p>
          <a:endParaRPr lang="en-US"/>
        </a:p>
      </dgm:t>
    </dgm:pt>
    <dgm:pt modelId="{BD203190-B02D-4833-9639-64C6874E5D6E}">
      <dgm:prSet custT="1"/>
      <dgm:spPr>
        <a:noFill/>
        <a:ln>
          <a:noFill/>
        </a:ln>
      </dgm:spPr>
      <dgm:t>
        <a:bodyPr/>
        <a:lstStyle/>
        <a:p>
          <a:r>
            <a:rPr lang="fr-CA" sz="1900" b="0" i="0" strike="noStrike" cap="none" spc="0" baseline="0">
              <a:solidFill>
                <a:srgbClr val="000000"/>
              </a:solidFill>
              <a:effectLst/>
              <a:latin typeface="Calibri"/>
              <a:ea typeface="Calibri"/>
              <a:cs typeface="Calibri"/>
            </a:rPr>
            <a:t>Tout le monde veut faire partie d’une équipe respectueuse et prospère</a:t>
          </a:r>
          <a:endParaRPr lang="en-US"/>
        </a:p>
      </dgm:t>
    </dgm:pt>
    <dgm:pt modelId="{22737114-0C48-408A-9ADC-FBB5D68DA89B}" type="sibTrans" cxnId="{08A4399E-852F-4A07-A9FE-37D70C16336F}">
      <dgm:prSet/>
      <dgm:spPr/>
      <dgm:t>
        <a:bodyPr/>
        <a:lstStyle/>
        <a:p>
          <a:endParaRPr lang="en-US"/>
        </a:p>
      </dgm:t>
    </dgm:pt>
    <dgm:pt modelId="{3B489F43-81AC-47EA-B6F9-1A9F3623A6FD}" type="parTrans" cxnId="{69480530-6643-4FFF-A084-D92E0E4E2770}">
      <dgm:prSet/>
      <dgm:spPr/>
      <dgm:t>
        <a:bodyPr/>
        <a:lstStyle/>
        <a:p>
          <a:endParaRPr lang="en-US"/>
        </a:p>
      </dgm:t>
    </dgm:pt>
    <dgm:pt modelId="{D5ADE06A-2CD8-4527-BB06-0919124DF32C}">
      <dgm:prSet custT="1"/>
      <dgm:spPr>
        <a:noFill/>
        <a:ln>
          <a:noFill/>
        </a:ln>
      </dgm:spPr>
      <dgm:t>
        <a:bodyPr/>
        <a:lstStyle/>
        <a:p>
          <a:r>
            <a:rPr lang="fr-CA" sz="1900" b="0" i="0" strike="noStrike" cap="none" spc="0" baseline="0">
              <a:solidFill>
                <a:srgbClr val="000000"/>
              </a:solidFill>
              <a:effectLst/>
              <a:latin typeface="Calibri"/>
              <a:ea typeface="Calibri"/>
              <a:cs typeface="Calibri"/>
            </a:rPr>
            <a:t>La V&amp;E de 168 respecte les principes de prévention de la discrimination et du harcèlement, qui nécessitent l’engagement de tous</a:t>
          </a:r>
          <a:endParaRPr lang="en-US"/>
        </a:p>
      </dgm:t>
    </dgm:pt>
    <dgm:pt modelId="{8031BCC7-8D90-4C42-9290-ACCDE5A0B9ED}" type="sibTrans" cxnId="{69480530-6643-4FFF-A084-D92E0E4E2770}">
      <dgm:prSet/>
      <dgm:spPr/>
      <dgm:t>
        <a:bodyPr/>
        <a:lstStyle/>
        <a:p>
          <a:endParaRPr lang="en-US"/>
        </a:p>
      </dgm:t>
    </dgm:pt>
    <dgm:pt modelId="{2F0AF00D-06E6-440B-A672-A767CD8F0B53}" type="parTrans" cxnId="{1A3C231F-85CA-4755-BCC8-3ACC126F9D48}">
      <dgm:prSet/>
      <dgm:spPr/>
      <dgm:t>
        <a:bodyPr/>
        <a:lstStyle/>
        <a:p>
          <a:endParaRPr lang="en-US"/>
        </a:p>
      </dgm:t>
    </dgm:pt>
    <dgm:pt modelId="{255A7C46-93F8-42B9-B3FF-C4120B6D6A85}">
      <dgm:prSet custT="1"/>
      <dgm:spPr>
        <a:noFill/>
        <a:ln>
          <a:noFill/>
        </a:ln>
      </dgm:spPr>
      <dgm:t>
        <a:bodyPr/>
        <a:lstStyle/>
        <a:p>
          <a:r>
            <a:rPr lang="fr-CA" sz="1900" b="0" i="0" strike="noStrike" cap="none" spc="0" baseline="0">
              <a:solidFill>
                <a:srgbClr val="000000"/>
              </a:solidFill>
              <a:effectLst/>
              <a:latin typeface="Calibri"/>
              <a:ea typeface="Calibri"/>
              <a:cs typeface="Calibri"/>
            </a:rPr>
            <a:t>RPM ne tolère pas le manque de respect, le harcèlement ou la discrimination sous quelque forme que ce soit</a:t>
          </a:r>
          <a:endParaRPr lang="en-US"/>
        </a:p>
      </dgm:t>
    </dgm:pt>
    <dgm:pt modelId="{14D5279D-3554-44D4-A185-DA900563E26D}" type="sibTrans" cxnId="{1A3C231F-85CA-4755-BCC8-3ACC126F9D48}">
      <dgm:prSet/>
      <dgm:spPr/>
      <dgm:t>
        <a:bodyPr/>
        <a:lstStyle/>
        <a:p>
          <a:endParaRPr lang="en-US"/>
        </a:p>
      </dgm:t>
    </dgm:pt>
    <dgm:pt modelId="{72D0D968-80E7-4D31-AFB8-C5742C4FABDC}" type="parTrans" cxnId="{CB7A2F52-4AFE-4AC6-A610-625D792D0C68}">
      <dgm:prSet/>
      <dgm:spPr/>
      <dgm:t>
        <a:bodyPr/>
        <a:lstStyle/>
        <a:p>
          <a:endParaRPr lang="en-US"/>
        </a:p>
      </dgm:t>
    </dgm:pt>
    <dgm:pt modelId="{D5DED7B9-AE0E-4022-87AC-013CCD84826A}">
      <dgm:prSet custT="1"/>
      <dgm:spPr>
        <a:noFill/>
        <a:ln>
          <a:noFill/>
        </a:ln>
      </dgm:spPr>
      <dgm:t>
        <a:bodyPr/>
        <a:lstStyle/>
        <a:p>
          <a:r>
            <a:rPr lang="fr-CA" sz="1900" b="0" i="0" strike="noStrike" cap="none" spc="0" baseline="0">
              <a:solidFill>
                <a:srgbClr val="000000"/>
              </a:solidFill>
              <a:effectLst/>
              <a:latin typeface="Calibri"/>
              <a:ea typeface="Calibri"/>
              <a:cs typeface="Calibri"/>
            </a:rPr>
            <a:t>Nous devons tous nous assurer que notre conduite reflète les valeurs de RPM, et nous devons prendre des mesures si nous constatons une conduite inappropriée</a:t>
          </a:r>
          <a:endParaRPr lang="en-US"/>
        </a:p>
      </dgm:t>
    </dgm:pt>
    <dgm:pt modelId="{CEBD3099-CB00-4B1F-9F22-D2CEB3D1037A}" type="sibTrans" cxnId="{CB7A2F52-4AFE-4AC6-A610-625D792D0C68}">
      <dgm:prSet/>
      <dgm:spPr/>
      <dgm:t>
        <a:bodyPr/>
        <a:lstStyle/>
        <a:p>
          <a:endParaRPr lang="en-US"/>
        </a:p>
      </dgm:t>
    </dgm:pt>
    <dgm:pt modelId="{79A6C311-014C-4876-94E9-AC2AA0789466}" type="pres">
      <dgm:prSet presAssocID="{D3B1D878-DD47-4554-B918-FF8182C854DF}" presName="root" presStyleCnt="0">
        <dgm:presLayoutVars>
          <dgm:dir/>
          <dgm:resizeHandles val="exact"/>
        </dgm:presLayoutVars>
      </dgm:prSet>
      <dgm:spPr/>
    </dgm:pt>
    <dgm:pt modelId="{D1AC1FB3-8252-43F4-B1DF-E0B7B991C4ED}" type="pres">
      <dgm:prSet presAssocID="{BD203190-B02D-4833-9639-64C6874E5D6E}" presName="compNode" presStyleCnt="0"/>
      <dgm:spPr/>
    </dgm:pt>
    <dgm:pt modelId="{E5BCA4F3-8F30-418C-9B3B-9FAE6FBB2AFD}" type="pres">
      <dgm:prSet presAssocID="{BD203190-B02D-4833-9639-64C6874E5D6E}" presName="bgRect" presStyleLbl="bgShp" presStyleIdx="0" presStyleCnt="4"/>
      <dgm:spPr>
        <a:solidFill>
          <a:schemeClr val="accent2">
            <a:tint val="40000"/>
            <a:hueOff val="0"/>
            <a:satOff val="0"/>
            <a:lumOff val="0"/>
            <a:alphaOff val="0"/>
          </a:schemeClr>
        </a:solidFill>
        <a:ln>
          <a:noFill/>
        </a:ln>
      </dgm:spPr>
    </dgm:pt>
    <dgm:pt modelId="{0E1DE14D-271D-4E48-A734-F66D4AA6B04D}" type="pres">
      <dgm:prSet presAssocID="{BD203190-B02D-4833-9639-64C6874E5D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AF898DFF-833E-4969-A05C-28F864E3637F}" type="pres">
      <dgm:prSet presAssocID="{BD203190-B02D-4833-9639-64C6874E5D6E}" presName="spaceRect" presStyleCnt="0"/>
      <dgm:spPr/>
    </dgm:pt>
    <dgm:pt modelId="{10EBE8A2-D7D4-4676-91C2-0669EA92AE50}" type="pres">
      <dgm:prSet presAssocID="{BD203190-B02D-4833-9639-64C6874E5D6E}" presName="parTx" presStyleLbl="revTx" presStyleIdx="0" presStyleCnt="4">
        <dgm:presLayoutVars>
          <dgm:chMax val="0"/>
          <dgm:chPref val="0"/>
        </dgm:presLayoutVars>
      </dgm:prSet>
      <dgm:spPr/>
    </dgm:pt>
    <dgm:pt modelId="{AAB631DF-D1E9-4EBA-BFAB-61939DC8BDB1}" type="pres">
      <dgm:prSet presAssocID="{22737114-0C48-408A-9ADC-FBB5D68DA89B}" presName="sibTrans" presStyleCnt="0"/>
      <dgm:spPr/>
    </dgm:pt>
    <dgm:pt modelId="{9EA0C476-91E6-4714-919B-C91EBFC2EB4F}" type="pres">
      <dgm:prSet presAssocID="{D5ADE06A-2CD8-4527-BB06-0919124DF32C}" presName="compNode" presStyleCnt="0"/>
      <dgm:spPr/>
    </dgm:pt>
    <dgm:pt modelId="{62399D1D-6A37-4655-9B96-57525ECC5F52}" type="pres">
      <dgm:prSet presAssocID="{D5ADE06A-2CD8-4527-BB06-0919124DF32C}" presName="bgRect" presStyleLbl="bgShp" presStyleIdx="1" presStyleCnt="4"/>
      <dgm:spPr>
        <a:solidFill>
          <a:schemeClr val="accent2">
            <a:tint val="40000"/>
            <a:hueOff val="0"/>
            <a:satOff val="0"/>
            <a:lumOff val="0"/>
            <a:alphaOff val="0"/>
          </a:schemeClr>
        </a:solidFill>
        <a:ln>
          <a:noFill/>
        </a:ln>
      </dgm:spPr>
    </dgm:pt>
    <dgm:pt modelId="{581AAD55-36A6-40B9-B55F-EEF840079F1A}" type="pres">
      <dgm:prSet presAssocID="{D5ADE06A-2CD8-4527-BB06-0919124DF32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221124F0-5250-4952-B025-754B2DEE029D}" type="pres">
      <dgm:prSet presAssocID="{D5ADE06A-2CD8-4527-BB06-0919124DF32C}" presName="spaceRect" presStyleCnt="0"/>
      <dgm:spPr/>
    </dgm:pt>
    <dgm:pt modelId="{F09238B2-9DB9-4BD7-8219-1D04AF10EADE}" type="pres">
      <dgm:prSet presAssocID="{D5ADE06A-2CD8-4527-BB06-0919124DF32C}" presName="parTx" presStyleLbl="revTx" presStyleIdx="1" presStyleCnt="4">
        <dgm:presLayoutVars>
          <dgm:chMax val="0"/>
          <dgm:chPref val="0"/>
        </dgm:presLayoutVars>
      </dgm:prSet>
      <dgm:spPr/>
    </dgm:pt>
    <dgm:pt modelId="{DC802BC5-1A91-4AF9-9ED1-02F8C352C88F}" type="pres">
      <dgm:prSet presAssocID="{8031BCC7-8D90-4C42-9290-ACCDE5A0B9ED}" presName="sibTrans" presStyleCnt="0"/>
      <dgm:spPr/>
    </dgm:pt>
    <dgm:pt modelId="{4F6FD4E0-2E33-4FE5-AB43-13249D436D2E}" type="pres">
      <dgm:prSet presAssocID="{255A7C46-93F8-42B9-B3FF-C4120B6D6A85}" presName="compNode" presStyleCnt="0"/>
      <dgm:spPr/>
    </dgm:pt>
    <dgm:pt modelId="{2194DC87-0EB3-47A9-A710-50B67ABE9595}" type="pres">
      <dgm:prSet presAssocID="{255A7C46-93F8-42B9-B3FF-C4120B6D6A85}" presName="bgRect" presStyleLbl="bgShp" presStyleIdx="2" presStyleCnt="4"/>
      <dgm:spPr>
        <a:solidFill>
          <a:schemeClr val="accent2">
            <a:tint val="40000"/>
            <a:hueOff val="0"/>
            <a:satOff val="0"/>
            <a:lumOff val="0"/>
            <a:alphaOff val="0"/>
          </a:schemeClr>
        </a:solidFill>
        <a:ln>
          <a:noFill/>
        </a:ln>
      </dgm:spPr>
    </dgm:pt>
    <dgm:pt modelId="{E7043F58-D2C7-4873-8DE7-E85D1568F29E}" type="pres">
      <dgm:prSet presAssocID="{255A7C46-93F8-42B9-B3FF-C4120B6D6A8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E91F269F-E74E-44A5-B980-0F943959FF9F}" type="pres">
      <dgm:prSet presAssocID="{255A7C46-93F8-42B9-B3FF-C4120B6D6A85}" presName="spaceRect" presStyleCnt="0"/>
      <dgm:spPr/>
    </dgm:pt>
    <dgm:pt modelId="{E61693E8-D0B4-4833-BD20-F0400943806F}" type="pres">
      <dgm:prSet presAssocID="{255A7C46-93F8-42B9-B3FF-C4120B6D6A85}" presName="parTx" presStyleLbl="revTx" presStyleIdx="2" presStyleCnt="4">
        <dgm:presLayoutVars>
          <dgm:chMax val="0"/>
          <dgm:chPref val="0"/>
        </dgm:presLayoutVars>
      </dgm:prSet>
      <dgm:spPr/>
    </dgm:pt>
    <dgm:pt modelId="{84CA8B17-F245-4AD8-9D97-5A81F130C64C}" type="pres">
      <dgm:prSet presAssocID="{14D5279D-3554-44D4-A185-DA900563E26D}" presName="sibTrans" presStyleCnt="0"/>
      <dgm:spPr/>
    </dgm:pt>
    <dgm:pt modelId="{4DEF3117-8A5A-458D-881B-10B2ACCAB362}" type="pres">
      <dgm:prSet presAssocID="{D5DED7B9-AE0E-4022-87AC-013CCD84826A}" presName="compNode" presStyleCnt="0"/>
      <dgm:spPr/>
    </dgm:pt>
    <dgm:pt modelId="{AEF938DC-0277-4425-B5AA-B6E145ABDF3E}" type="pres">
      <dgm:prSet presAssocID="{D5DED7B9-AE0E-4022-87AC-013CCD84826A}" presName="bgRect" presStyleLbl="bgShp" presStyleIdx="3" presStyleCnt="4"/>
      <dgm:spPr>
        <a:solidFill>
          <a:schemeClr val="accent2">
            <a:tint val="40000"/>
            <a:hueOff val="0"/>
            <a:satOff val="0"/>
            <a:lumOff val="0"/>
            <a:alphaOff val="0"/>
          </a:schemeClr>
        </a:solidFill>
        <a:ln>
          <a:noFill/>
        </a:ln>
      </dgm:spPr>
    </dgm:pt>
    <dgm:pt modelId="{BE8DF815-E4EC-4C8B-89A3-02381B28C402}" type="pres">
      <dgm:prSet presAssocID="{D5DED7B9-AE0E-4022-87AC-013CCD84826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EFBC4F42-3390-49A4-B52F-7A9440C85FC1}" type="pres">
      <dgm:prSet presAssocID="{D5DED7B9-AE0E-4022-87AC-013CCD84826A}" presName="spaceRect" presStyleCnt="0"/>
      <dgm:spPr/>
    </dgm:pt>
    <dgm:pt modelId="{24931F5D-5E16-4A87-A9D2-51F34F2AEE47}" type="pres">
      <dgm:prSet presAssocID="{D5DED7B9-AE0E-4022-87AC-013CCD84826A}" presName="parTx" presStyleLbl="revTx" presStyleIdx="3" presStyleCnt="4">
        <dgm:presLayoutVars>
          <dgm:chMax val="0"/>
          <dgm:chPref val="0"/>
        </dgm:presLayoutVars>
      </dgm:prSet>
      <dgm:spPr/>
    </dgm:pt>
  </dgm:ptLst>
  <dgm:cxnLst>
    <dgm:cxn modelId="{1A3C231F-85CA-4755-BCC8-3ACC126F9D48}" srcId="{D3B1D878-DD47-4554-B918-FF8182C854DF}" destId="{255A7C46-93F8-42B9-B3FF-C4120B6D6A85}" srcOrd="2" destOrd="0" parTransId="{2F0AF00D-06E6-440B-A672-A767CD8F0B53}" sibTransId="{14D5279D-3554-44D4-A185-DA900563E26D}"/>
    <dgm:cxn modelId="{7BF0B82B-AA34-4454-9B12-3569144318BA}" type="presOf" srcId="{BD203190-B02D-4833-9639-64C6874E5D6E}" destId="{10EBE8A2-D7D4-4676-91C2-0669EA92AE50}" srcOrd="0" destOrd="0" presId="urn:microsoft.com/office/officeart/2018/2/layout/IconVerticalSolidList"/>
    <dgm:cxn modelId="{69480530-6643-4FFF-A084-D92E0E4E2770}" srcId="{D3B1D878-DD47-4554-B918-FF8182C854DF}" destId="{D5ADE06A-2CD8-4527-BB06-0919124DF32C}" srcOrd="1" destOrd="0" parTransId="{3B489F43-81AC-47EA-B6F9-1A9F3623A6FD}" sibTransId="{8031BCC7-8D90-4C42-9290-ACCDE5A0B9ED}"/>
    <dgm:cxn modelId="{29DA0938-2397-4EC7-96E8-F67941AFBDFF}" type="presOf" srcId="{D5DED7B9-AE0E-4022-87AC-013CCD84826A}" destId="{24931F5D-5E16-4A87-A9D2-51F34F2AEE47}" srcOrd="0" destOrd="0" presId="urn:microsoft.com/office/officeart/2018/2/layout/IconVerticalSolidList"/>
    <dgm:cxn modelId="{5911AD5F-FF05-44A5-8637-66B4926D9D94}" type="presOf" srcId="{255A7C46-93F8-42B9-B3FF-C4120B6D6A85}" destId="{E61693E8-D0B4-4833-BD20-F0400943806F}" srcOrd="0" destOrd="0" presId="urn:microsoft.com/office/officeart/2018/2/layout/IconVerticalSolidList"/>
    <dgm:cxn modelId="{CB7A2F52-4AFE-4AC6-A610-625D792D0C68}" srcId="{D3B1D878-DD47-4554-B918-FF8182C854DF}" destId="{D5DED7B9-AE0E-4022-87AC-013CCD84826A}" srcOrd="3" destOrd="0" parTransId="{72D0D968-80E7-4D31-AFB8-C5742C4FABDC}" sibTransId="{CEBD3099-CB00-4B1F-9F22-D2CEB3D1037A}"/>
    <dgm:cxn modelId="{08A4399E-852F-4A07-A9FE-37D70C16336F}" srcId="{D3B1D878-DD47-4554-B918-FF8182C854DF}" destId="{BD203190-B02D-4833-9639-64C6874E5D6E}" srcOrd="0" destOrd="0" parTransId="{4872F20E-C901-4018-94B9-DA055639A969}" sibTransId="{22737114-0C48-408A-9ADC-FBB5D68DA89B}"/>
    <dgm:cxn modelId="{89C907C6-83C7-4424-A386-963AC129E49F}" type="presOf" srcId="{D5ADE06A-2CD8-4527-BB06-0919124DF32C}" destId="{F09238B2-9DB9-4BD7-8219-1D04AF10EADE}" srcOrd="0" destOrd="0" presId="urn:microsoft.com/office/officeart/2018/2/layout/IconVerticalSolidList"/>
    <dgm:cxn modelId="{410F77DE-48CD-4557-A4C2-74916AC1FA4D}" type="presOf" srcId="{D3B1D878-DD47-4554-B918-FF8182C854DF}" destId="{79A6C311-014C-4876-94E9-AC2AA0789466}" srcOrd="0" destOrd="0" presId="urn:microsoft.com/office/officeart/2018/2/layout/IconVerticalSolidList"/>
    <dgm:cxn modelId="{6722C39D-4695-41F9-B80B-812FC159D59C}" type="presParOf" srcId="{79A6C311-014C-4876-94E9-AC2AA0789466}" destId="{D1AC1FB3-8252-43F4-B1DF-E0B7B991C4ED}" srcOrd="0" destOrd="0" presId="urn:microsoft.com/office/officeart/2018/2/layout/IconVerticalSolidList"/>
    <dgm:cxn modelId="{621AC54C-056C-41AC-9AEE-3B79D17675C5}" type="presParOf" srcId="{D1AC1FB3-8252-43F4-B1DF-E0B7B991C4ED}" destId="{E5BCA4F3-8F30-418C-9B3B-9FAE6FBB2AFD}" srcOrd="0" destOrd="0" presId="urn:microsoft.com/office/officeart/2018/2/layout/IconVerticalSolidList"/>
    <dgm:cxn modelId="{77AFDB33-9D78-457B-A2DB-E4E9E51CBDAE}" type="presParOf" srcId="{D1AC1FB3-8252-43F4-B1DF-E0B7B991C4ED}" destId="{0E1DE14D-271D-4E48-A734-F66D4AA6B04D}" srcOrd="1" destOrd="0" presId="urn:microsoft.com/office/officeart/2018/2/layout/IconVerticalSolidList"/>
    <dgm:cxn modelId="{4B2E06F8-7C34-4478-8C2F-69E3A4549852}" type="presParOf" srcId="{D1AC1FB3-8252-43F4-B1DF-E0B7B991C4ED}" destId="{AF898DFF-833E-4969-A05C-28F864E3637F}" srcOrd="2" destOrd="0" presId="urn:microsoft.com/office/officeart/2018/2/layout/IconVerticalSolidList"/>
    <dgm:cxn modelId="{36F41E3F-6768-459C-87E3-FA9C23372275}" type="presParOf" srcId="{D1AC1FB3-8252-43F4-B1DF-E0B7B991C4ED}" destId="{10EBE8A2-D7D4-4676-91C2-0669EA92AE50}" srcOrd="3" destOrd="0" presId="urn:microsoft.com/office/officeart/2018/2/layout/IconVerticalSolidList"/>
    <dgm:cxn modelId="{35711E06-BBC8-4C53-AEE6-5D7F9C601CF3}" type="presParOf" srcId="{79A6C311-014C-4876-94E9-AC2AA0789466}" destId="{AAB631DF-D1E9-4EBA-BFAB-61939DC8BDB1}" srcOrd="1" destOrd="0" presId="urn:microsoft.com/office/officeart/2018/2/layout/IconVerticalSolidList"/>
    <dgm:cxn modelId="{E89759F5-12A9-47F4-A674-CA17D31824BC}" type="presParOf" srcId="{79A6C311-014C-4876-94E9-AC2AA0789466}" destId="{9EA0C476-91E6-4714-919B-C91EBFC2EB4F}" srcOrd="2" destOrd="0" presId="urn:microsoft.com/office/officeart/2018/2/layout/IconVerticalSolidList"/>
    <dgm:cxn modelId="{2A10C5D9-6FF5-4D4A-8EE6-A5654AC05065}" type="presParOf" srcId="{9EA0C476-91E6-4714-919B-C91EBFC2EB4F}" destId="{62399D1D-6A37-4655-9B96-57525ECC5F52}" srcOrd="0" destOrd="0" presId="urn:microsoft.com/office/officeart/2018/2/layout/IconVerticalSolidList"/>
    <dgm:cxn modelId="{B2EDE5FA-4530-4D68-A460-2ADAADF0F479}" type="presParOf" srcId="{9EA0C476-91E6-4714-919B-C91EBFC2EB4F}" destId="{581AAD55-36A6-40B9-B55F-EEF840079F1A}" srcOrd="1" destOrd="0" presId="urn:microsoft.com/office/officeart/2018/2/layout/IconVerticalSolidList"/>
    <dgm:cxn modelId="{D29B4B24-33BC-4BB1-9E8B-F15496364540}" type="presParOf" srcId="{9EA0C476-91E6-4714-919B-C91EBFC2EB4F}" destId="{221124F0-5250-4952-B025-754B2DEE029D}" srcOrd="2" destOrd="0" presId="urn:microsoft.com/office/officeart/2018/2/layout/IconVerticalSolidList"/>
    <dgm:cxn modelId="{0957FB46-283E-42AB-9775-D05C629185B4}" type="presParOf" srcId="{9EA0C476-91E6-4714-919B-C91EBFC2EB4F}" destId="{F09238B2-9DB9-4BD7-8219-1D04AF10EADE}" srcOrd="3" destOrd="0" presId="urn:microsoft.com/office/officeart/2018/2/layout/IconVerticalSolidList"/>
    <dgm:cxn modelId="{99882C2A-1076-4347-A612-3D58E918F3A6}" type="presParOf" srcId="{79A6C311-014C-4876-94E9-AC2AA0789466}" destId="{DC802BC5-1A91-4AF9-9ED1-02F8C352C88F}" srcOrd="3" destOrd="0" presId="urn:microsoft.com/office/officeart/2018/2/layout/IconVerticalSolidList"/>
    <dgm:cxn modelId="{4EC0E089-651B-402C-97B7-0F394EC4E74B}" type="presParOf" srcId="{79A6C311-014C-4876-94E9-AC2AA0789466}" destId="{4F6FD4E0-2E33-4FE5-AB43-13249D436D2E}" srcOrd="4" destOrd="0" presId="urn:microsoft.com/office/officeart/2018/2/layout/IconVerticalSolidList"/>
    <dgm:cxn modelId="{F121718E-B4C0-49D6-AE92-9146681F4510}" type="presParOf" srcId="{4F6FD4E0-2E33-4FE5-AB43-13249D436D2E}" destId="{2194DC87-0EB3-47A9-A710-50B67ABE9595}" srcOrd="0" destOrd="0" presId="urn:microsoft.com/office/officeart/2018/2/layout/IconVerticalSolidList"/>
    <dgm:cxn modelId="{328D2867-5451-467E-B186-FEBE8BF5821A}" type="presParOf" srcId="{4F6FD4E0-2E33-4FE5-AB43-13249D436D2E}" destId="{E7043F58-D2C7-4873-8DE7-E85D1568F29E}" srcOrd="1" destOrd="0" presId="urn:microsoft.com/office/officeart/2018/2/layout/IconVerticalSolidList"/>
    <dgm:cxn modelId="{7F956F1D-B376-44E5-9EEF-41F68CAC4080}" type="presParOf" srcId="{4F6FD4E0-2E33-4FE5-AB43-13249D436D2E}" destId="{E91F269F-E74E-44A5-B980-0F943959FF9F}" srcOrd="2" destOrd="0" presId="urn:microsoft.com/office/officeart/2018/2/layout/IconVerticalSolidList"/>
    <dgm:cxn modelId="{FFCD3995-130E-4141-979B-79F0A33DB1BC}" type="presParOf" srcId="{4F6FD4E0-2E33-4FE5-AB43-13249D436D2E}" destId="{E61693E8-D0B4-4833-BD20-F0400943806F}" srcOrd="3" destOrd="0" presId="urn:microsoft.com/office/officeart/2018/2/layout/IconVerticalSolidList"/>
    <dgm:cxn modelId="{B1E5C283-1B81-462C-A45F-5D9FCFA3835F}" type="presParOf" srcId="{79A6C311-014C-4876-94E9-AC2AA0789466}" destId="{84CA8B17-F245-4AD8-9D97-5A81F130C64C}" srcOrd="5" destOrd="0" presId="urn:microsoft.com/office/officeart/2018/2/layout/IconVerticalSolidList"/>
    <dgm:cxn modelId="{C872DA93-5DF9-48A7-A7AD-F084D0816AD4}" type="presParOf" srcId="{79A6C311-014C-4876-94E9-AC2AA0789466}" destId="{4DEF3117-8A5A-458D-881B-10B2ACCAB362}" srcOrd="6" destOrd="0" presId="urn:microsoft.com/office/officeart/2018/2/layout/IconVerticalSolidList"/>
    <dgm:cxn modelId="{949B4790-E243-4803-A8D5-05C4039B1E66}" type="presParOf" srcId="{4DEF3117-8A5A-458D-881B-10B2ACCAB362}" destId="{AEF938DC-0277-4425-B5AA-B6E145ABDF3E}" srcOrd="0" destOrd="0" presId="urn:microsoft.com/office/officeart/2018/2/layout/IconVerticalSolidList"/>
    <dgm:cxn modelId="{AC2CDAAF-5A3E-4271-A1E3-E879C29A5A72}" type="presParOf" srcId="{4DEF3117-8A5A-458D-881B-10B2ACCAB362}" destId="{BE8DF815-E4EC-4C8B-89A3-02381B28C402}" srcOrd="1" destOrd="0" presId="urn:microsoft.com/office/officeart/2018/2/layout/IconVerticalSolidList"/>
    <dgm:cxn modelId="{F91FCA82-4A6B-45E7-B86B-11C9A3D8B2B1}" type="presParOf" srcId="{4DEF3117-8A5A-458D-881B-10B2ACCAB362}" destId="{EFBC4F42-3390-49A4-B52F-7A9440C85FC1}" srcOrd="2" destOrd="0" presId="urn:microsoft.com/office/officeart/2018/2/layout/IconVerticalSolidList"/>
    <dgm:cxn modelId="{103CEE6B-E08B-434B-932E-33B079E81031}" type="presParOf" srcId="{4DEF3117-8A5A-458D-881B-10B2ACCAB362}" destId="{24931F5D-5E16-4A87-A9D2-51F34F2AEE4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0.xml><?xml version="1.0" encoding="utf-8"?>
<dgm:dataModel xmlns:dgm="http://schemas.openxmlformats.org/drawingml/2006/diagram" xmlns:a="http://schemas.openxmlformats.org/drawingml/2006/main">
  <dgm:ptLst>
    <dgm:pt modelId="{ED7DFDA6-E816-47B2-9567-C5BB0EEB59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D59F25E-8D6B-4DDC-88B3-DDA63EF0643B}" type="parTrans" cxnId="{12B65840-09E8-4CD2-B023-9BC34734B09C}">
      <dgm:prSet/>
      <dgm:spPr/>
      <dgm:t>
        <a:bodyPr/>
        <a:lstStyle/>
        <a:p>
          <a:endParaRPr lang="en-US"/>
        </a:p>
      </dgm:t>
    </dgm:pt>
    <dgm:pt modelId="{04AB9A4F-D9FE-47DA-8246-2A78DFA5655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500" b="0" i="0" strike="noStrike" cap="none" spc="0" baseline="0">
              <a:solidFill>
                <a:srgbClr val="FFFFFF"/>
              </a:solidFill>
              <a:effectLst/>
              <a:latin typeface="Calibri"/>
              <a:ea typeface="Calibri"/>
              <a:cs typeface="Calibri"/>
            </a:rPr>
            <a:t>Votre comportement rend-il les gens mal à l’aise ou crée-t-il des conflits inutiles?</a:t>
          </a:r>
          <a:endParaRPr lang="en-US"/>
        </a:p>
      </dgm:t>
    </dgm:pt>
    <dgm:pt modelId="{EF4C7FAD-6507-4D93-A5CA-31A3D9E541FB}" type="sibTrans" cxnId="{12B65840-09E8-4CD2-B023-9BC34734B09C}">
      <dgm:prSet/>
      <dgm:spPr/>
      <dgm:t>
        <a:bodyPr/>
        <a:lstStyle/>
        <a:p>
          <a:endParaRPr lang="en-US"/>
        </a:p>
      </dgm:t>
    </dgm:pt>
    <dgm:pt modelId="{B4F0A06B-6C5B-49F8-8386-5178C2202F1F}" type="parTrans" cxnId="{5D29E358-676D-4D97-8A8E-C5B129A19841}">
      <dgm:prSet/>
      <dgm:spPr/>
      <dgm:t>
        <a:bodyPr/>
        <a:lstStyle/>
        <a:p>
          <a:endParaRPr lang="en-US"/>
        </a:p>
      </dgm:t>
    </dgm:pt>
    <dgm:pt modelId="{E36DD077-4630-49D3-894A-E54327E7949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500" b="0" i="0" strike="noStrike" cap="none" spc="0" baseline="0">
              <a:solidFill>
                <a:srgbClr val="FFFFFF"/>
              </a:solidFill>
              <a:effectLst/>
              <a:latin typeface="Calibri"/>
              <a:ea typeface="Calibri"/>
              <a:cs typeface="Calibri"/>
            </a:rPr>
            <a:t>Seriez-vous gêné si vos amis, votre famille ou vos leaders communautaires apprenaient votre comportement?</a:t>
          </a:r>
          <a:endParaRPr lang="en-US"/>
        </a:p>
      </dgm:t>
    </dgm:pt>
    <dgm:pt modelId="{37C34F6D-8763-4626-85D8-27B76A047C36}" type="sibTrans" cxnId="{5D29E358-676D-4D97-8A8E-C5B129A19841}">
      <dgm:prSet/>
      <dgm:spPr/>
      <dgm:t>
        <a:bodyPr/>
        <a:lstStyle/>
        <a:p>
          <a:endParaRPr lang="en-US"/>
        </a:p>
      </dgm:t>
    </dgm:pt>
    <dgm:pt modelId="{36E166FB-1D32-4380-849D-9E46BEC66E4B}" type="parTrans" cxnId="{E7E6630B-298C-432D-82B6-E11E5FE91247}">
      <dgm:prSet/>
      <dgm:spPr/>
      <dgm:t>
        <a:bodyPr/>
        <a:lstStyle/>
        <a:p>
          <a:endParaRPr lang="en-US"/>
        </a:p>
      </dgm:t>
    </dgm:pt>
    <dgm:pt modelId="{22A170D8-7824-4DB9-A761-E3407BE28B42}">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500" b="0" i="0" strike="noStrike" cap="none" spc="0" baseline="0">
              <a:solidFill>
                <a:srgbClr val="FFFFFF"/>
              </a:solidFill>
              <a:effectLst/>
              <a:latin typeface="Calibri"/>
              <a:ea typeface="Calibri"/>
              <a:cs typeface="Calibri"/>
            </a:rPr>
            <a:t>Votre comportement est-il pertinent ou nécessaire à votre travail ou à votre rendement?</a:t>
          </a:r>
          <a:endParaRPr lang="en-US"/>
        </a:p>
      </dgm:t>
    </dgm:pt>
    <dgm:pt modelId="{4452BAC6-2866-4B98-816A-4BB16706752C}" type="sibTrans" cxnId="{E7E6630B-298C-432D-82B6-E11E5FE91247}">
      <dgm:prSet/>
      <dgm:spPr/>
      <dgm:t>
        <a:bodyPr/>
        <a:lstStyle/>
        <a:p>
          <a:endParaRPr lang="en-US"/>
        </a:p>
      </dgm:t>
    </dgm:pt>
    <dgm:pt modelId="{763C86D9-2FBC-451F-807E-0D6E3FC96AC4}" type="parTrans" cxnId="{A59BEAFC-B318-4289-9C78-6BB93A274892}">
      <dgm:prSet/>
      <dgm:spPr/>
      <dgm:t>
        <a:bodyPr/>
        <a:lstStyle/>
        <a:p>
          <a:endParaRPr lang="en-US"/>
        </a:p>
      </dgm:t>
    </dgm:pt>
    <dgm:pt modelId="{99AECD81-A579-436B-B436-13B4FBC1CBD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500" b="0" i="0" strike="noStrike" cap="none" spc="0" baseline="0">
              <a:solidFill>
                <a:srgbClr val="FFFFFF"/>
              </a:solidFill>
              <a:effectLst/>
              <a:latin typeface="Calibri"/>
              <a:ea typeface="Calibri"/>
              <a:cs typeface="Calibri"/>
            </a:rPr>
            <a:t>Si vous répondez oui à l’une de ces questions, demandez-vous si ce que vous faites ou dites est approprié.</a:t>
          </a:r>
          <a:endParaRPr lang="en-US"/>
        </a:p>
      </dgm:t>
    </dgm:pt>
    <dgm:pt modelId="{16B654AB-35BC-4062-8FB9-A021A4EDF7E1}" type="sibTrans" cxnId="{A59BEAFC-B318-4289-9C78-6BB93A274892}">
      <dgm:prSet/>
      <dgm:spPr/>
      <dgm:t>
        <a:bodyPr/>
        <a:lstStyle/>
        <a:p>
          <a:endParaRPr lang="en-US"/>
        </a:p>
      </dgm:t>
    </dgm:pt>
    <dgm:pt modelId="{0F90807F-9B06-41A3-9F46-0A44E44457E4}" type="pres">
      <dgm:prSet presAssocID="{ED7DFDA6-E816-47B2-9567-C5BB0EEB594A}" presName="diagram" presStyleCnt="0">
        <dgm:presLayoutVars>
          <dgm:dir/>
          <dgm:resizeHandles val="exact"/>
        </dgm:presLayoutVars>
      </dgm:prSet>
      <dgm:spPr/>
    </dgm:pt>
    <dgm:pt modelId="{6DF8FA57-199B-4FDE-9C3F-99E925313025}" type="pres">
      <dgm:prSet presAssocID="{04AB9A4F-D9FE-47DA-8246-2A78DFA5655C}" presName="node" presStyleLbl="node1" presStyleIdx="0" presStyleCnt="4">
        <dgm:presLayoutVars>
          <dgm:bulletEnabled val="1"/>
        </dgm:presLayoutVars>
      </dgm:prSet>
      <dgm:spPr/>
    </dgm:pt>
    <dgm:pt modelId="{C8248DB2-9292-4124-B95E-ED8B9287618C}" type="pres">
      <dgm:prSet presAssocID="{EF4C7FAD-6507-4D93-A5CA-31A3D9E541FB}" presName="sibTrans" presStyleCnt="0"/>
      <dgm:spPr/>
    </dgm:pt>
    <dgm:pt modelId="{8E972E1B-CF68-4A49-915B-097B6B17B149}" type="pres">
      <dgm:prSet presAssocID="{E36DD077-4630-49D3-894A-E54327E79495}" presName="node" presStyleLbl="node1" presStyleIdx="1" presStyleCnt="4">
        <dgm:presLayoutVars>
          <dgm:bulletEnabled val="1"/>
        </dgm:presLayoutVars>
      </dgm:prSet>
      <dgm:spPr/>
    </dgm:pt>
    <dgm:pt modelId="{A072F57F-2EA5-41A1-9F6E-0A889D4B4517}" type="pres">
      <dgm:prSet presAssocID="{37C34F6D-8763-4626-85D8-27B76A047C36}" presName="sibTrans" presStyleCnt="0"/>
      <dgm:spPr/>
    </dgm:pt>
    <dgm:pt modelId="{243CC102-BC16-4CF6-99B1-D3653BCF54DD}" type="pres">
      <dgm:prSet presAssocID="{22A170D8-7824-4DB9-A761-E3407BE28B42}" presName="node" presStyleLbl="node1" presStyleIdx="2" presStyleCnt="4">
        <dgm:presLayoutVars>
          <dgm:bulletEnabled val="1"/>
        </dgm:presLayoutVars>
      </dgm:prSet>
      <dgm:spPr/>
    </dgm:pt>
    <dgm:pt modelId="{3444DF13-928C-4745-AA5A-98EC000EA8C8}" type="pres">
      <dgm:prSet presAssocID="{4452BAC6-2866-4B98-816A-4BB16706752C}" presName="sibTrans" presStyleCnt="0"/>
      <dgm:spPr/>
    </dgm:pt>
    <dgm:pt modelId="{3345AED3-E8AE-40AD-B56E-281783EF31F5}" type="pres">
      <dgm:prSet presAssocID="{99AECD81-A579-436B-B436-13B4FBC1CBD3}" presName="node" presStyleLbl="node1" presStyleIdx="3" presStyleCnt="4">
        <dgm:presLayoutVars>
          <dgm:bulletEnabled val="1"/>
        </dgm:presLayoutVars>
      </dgm:prSet>
      <dgm:spPr/>
    </dgm:pt>
  </dgm:ptLst>
  <dgm:cxnLst>
    <dgm:cxn modelId="{E7E6630B-298C-432D-82B6-E11E5FE91247}" srcId="{ED7DFDA6-E816-47B2-9567-C5BB0EEB594A}" destId="{22A170D8-7824-4DB9-A761-E3407BE28B42}" srcOrd="2" destOrd="0" parTransId="{36E166FB-1D32-4380-849D-9E46BEC66E4B}" sibTransId="{4452BAC6-2866-4B98-816A-4BB16706752C}"/>
    <dgm:cxn modelId="{4FA18615-E469-42C1-8914-AFAA42F4AD33}" type="presOf" srcId="{04AB9A4F-D9FE-47DA-8246-2A78DFA5655C}" destId="{6DF8FA57-199B-4FDE-9C3F-99E925313025}" srcOrd="0" destOrd="0" presId="urn:microsoft.com/office/officeart/2005/8/layout/default"/>
    <dgm:cxn modelId="{12B65840-09E8-4CD2-B023-9BC34734B09C}" srcId="{ED7DFDA6-E816-47B2-9567-C5BB0EEB594A}" destId="{04AB9A4F-D9FE-47DA-8246-2A78DFA5655C}" srcOrd="0" destOrd="0" parTransId="{ED59F25E-8D6B-4DDC-88B3-DDA63EF0643B}" sibTransId="{EF4C7FAD-6507-4D93-A5CA-31A3D9E541FB}"/>
    <dgm:cxn modelId="{B30DFD66-BAA2-43A0-9B6F-D3E04F1F7B60}" type="presOf" srcId="{E36DD077-4630-49D3-894A-E54327E79495}" destId="{8E972E1B-CF68-4A49-915B-097B6B17B149}" srcOrd="0" destOrd="0" presId="urn:microsoft.com/office/officeart/2005/8/layout/default"/>
    <dgm:cxn modelId="{2BB9B44A-71C0-4393-A48B-E312323EC7CD}" type="presOf" srcId="{99AECD81-A579-436B-B436-13B4FBC1CBD3}" destId="{3345AED3-E8AE-40AD-B56E-281783EF31F5}" srcOrd="0" destOrd="0" presId="urn:microsoft.com/office/officeart/2005/8/layout/default"/>
    <dgm:cxn modelId="{5D29E358-676D-4D97-8A8E-C5B129A19841}" srcId="{ED7DFDA6-E816-47B2-9567-C5BB0EEB594A}" destId="{E36DD077-4630-49D3-894A-E54327E79495}" srcOrd="1" destOrd="0" parTransId="{B4F0A06B-6C5B-49F8-8386-5178C2202F1F}" sibTransId="{37C34F6D-8763-4626-85D8-27B76A047C36}"/>
    <dgm:cxn modelId="{9CA90479-3C2B-441B-8471-2B928506E0E8}" type="presOf" srcId="{22A170D8-7824-4DB9-A761-E3407BE28B42}" destId="{243CC102-BC16-4CF6-99B1-D3653BCF54DD}" srcOrd="0" destOrd="0" presId="urn:microsoft.com/office/officeart/2005/8/layout/default"/>
    <dgm:cxn modelId="{C68916BE-9F91-4492-985D-C1D1BCB94BA5}" type="presOf" srcId="{ED7DFDA6-E816-47B2-9567-C5BB0EEB594A}" destId="{0F90807F-9B06-41A3-9F46-0A44E44457E4}" srcOrd="0" destOrd="0" presId="urn:microsoft.com/office/officeart/2005/8/layout/default"/>
    <dgm:cxn modelId="{A59BEAFC-B318-4289-9C78-6BB93A274892}" srcId="{ED7DFDA6-E816-47B2-9567-C5BB0EEB594A}" destId="{99AECD81-A579-436B-B436-13B4FBC1CBD3}" srcOrd="3" destOrd="0" parTransId="{763C86D9-2FBC-451F-807E-0D6E3FC96AC4}" sibTransId="{16B654AB-35BC-4062-8FB9-A021A4EDF7E1}"/>
    <dgm:cxn modelId="{BD4A4526-C540-4BEF-9E0D-9BB470CB01B2}" type="presParOf" srcId="{0F90807F-9B06-41A3-9F46-0A44E44457E4}" destId="{6DF8FA57-199B-4FDE-9C3F-99E925313025}" srcOrd="0" destOrd="0" presId="urn:microsoft.com/office/officeart/2005/8/layout/default"/>
    <dgm:cxn modelId="{78F9A0BE-29AD-4593-9369-9D6570F9E5A5}" type="presParOf" srcId="{0F90807F-9B06-41A3-9F46-0A44E44457E4}" destId="{C8248DB2-9292-4124-B95E-ED8B9287618C}" srcOrd="1" destOrd="0" presId="urn:microsoft.com/office/officeart/2005/8/layout/default"/>
    <dgm:cxn modelId="{B17C112C-15DB-44A6-875E-D4E42AB9F849}" type="presParOf" srcId="{0F90807F-9B06-41A3-9F46-0A44E44457E4}" destId="{8E972E1B-CF68-4A49-915B-097B6B17B149}" srcOrd="2" destOrd="0" presId="urn:microsoft.com/office/officeart/2005/8/layout/default"/>
    <dgm:cxn modelId="{98E2783B-3DA5-4B37-B0EF-04FDDC12E6A6}" type="presParOf" srcId="{0F90807F-9B06-41A3-9F46-0A44E44457E4}" destId="{A072F57F-2EA5-41A1-9F6E-0A889D4B4517}" srcOrd="3" destOrd="0" presId="urn:microsoft.com/office/officeart/2005/8/layout/default"/>
    <dgm:cxn modelId="{1E5DC92E-1A72-4A83-B4D1-29DBC50631CA}" type="presParOf" srcId="{0F90807F-9B06-41A3-9F46-0A44E44457E4}" destId="{243CC102-BC16-4CF6-99B1-D3653BCF54DD}" srcOrd="4" destOrd="0" presId="urn:microsoft.com/office/officeart/2005/8/layout/default"/>
    <dgm:cxn modelId="{8BF15B7B-D1CE-4F60-8250-49EDFB0A217F}" type="presParOf" srcId="{0F90807F-9B06-41A3-9F46-0A44E44457E4}" destId="{3444DF13-928C-4745-AA5A-98EC000EA8C8}" srcOrd="5" destOrd="0" presId="urn:microsoft.com/office/officeart/2005/8/layout/default"/>
    <dgm:cxn modelId="{78151E0A-07C9-48BF-B2FC-3BFD88528DA9}" type="presParOf" srcId="{0F90807F-9B06-41A3-9F46-0A44E44457E4}" destId="{3345AED3-E8AE-40AD-B56E-281783EF31F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1.xml><?xml version="1.0" encoding="utf-8"?>
<dgm:dataModel xmlns:dgm="http://schemas.openxmlformats.org/drawingml/2006/diagram" xmlns:a="http://schemas.openxmlformats.org/drawingml/2006/main">
  <dgm:ptLst>
    <dgm:pt modelId="{A9FC8E42-7B95-42F1-983B-A5AE72E8C5C0}"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EB4AC6B5-0AE8-4CF2-984B-CC67AC15CFC5}" type="parTrans" cxnId="{9979DF16-5D09-4770-A078-34B71055E2F7}">
      <dgm:prSet/>
      <dgm:spPr/>
      <dgm:t>
        <a:bodyPr/>
        <a:lstStyle/>
        <a:p>
          <a:endParaRPr lang="en-US"/>
        </a:p>
      </dgm:t>
    </dgm:pt>
    <dgm:pt modelId="{972C802A-DE7C-4CFB-AB82-96FFF3476E4E}">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Contact avec les yeux</a:t>
          </a:r>
        </a:p>
      </dgm:t>
    </dgm:pt>
    <dgm:pt modelId="{FECE0BF8-ECB4-4A4E-8988-734D3D2C1857}" type="parTrans" cxnId="{6436619A-E8DA-4867-9D65-C57747D62352}">
      <dgm:prSet/>
      <dgm:spPr/>
      <dgm:t>
        <a:bodyPr/>
        <a:lstStyle/>
        <a:p>
          <a:endParaRPr lang="en-US"/>
        </a:p>
      </dgm:t>
    </dgm:pt>
    <dgm:pt modelId="{5F062A7C-B06E-4406-B0DD-354232FCE70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La personne établit-elle un contact visuel? Ou l’évitent-ils?</a:t>
          </a:r>
        </a:p>
      </dgm:t>
    </dgm:pt>
    <dgm:pt modelId="{CA457DF6-CDBB-4DA3-BD1A-617D376AAEBA}" type="sibTrans" cxnId="{6436619A-E8DA-4867-9D65-C57747D62352}">
      <dgm:prSet/>
      <dgm:spPr/>
      <dgm:t>
        <a:bodyPr/>
        <a:lstStyle/>
        <a:p>
          <a:endParaRPr lang="en-US"/>
        </a:p>
      </dgm:t>
    </dgm:pt>
    <dgm:pt modelId="{256E1FC6-3853-4AE2-86E4-6245C7BF4F37}" type="sibTrans" cxnId="{9979DF16-5D09-4770-A078-34B71055E2F7}">
      <dgm:prSet/>
      <dgm:spPr/>
      <dgm:t>
        <a:bodyPr/>
        <a:lstStyle/>
        <a:p>
          <a:endParaRPr lang="en-US"/>
        </a:p>
      </dgm:t>
    </dgm:pt>
    <dgm:pt modelId="{67B9D431-DA4A-4643-B490-76689F1C1084}" type="parTrans" cxnId="{53A71237-D2A1-4175-8C73-E4C9BCBBC31C}">
      <dgm:prSet/>
      <dgm:spPr/>
      <dgm:t>
        <a:bodyPr/>
        <a:lstStyle/>
        <a:p>
          <a:endParaRPr lang="en-US"/>
        </a:p>
      </dgm:t>
    </dgm:pt>
    <dgm:pt modelId="{F338A198-B74D-4D23-AE14-A82F11E1DAD8}">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Expressions faciales</a:t>
          </a:r>
        </a:p>
      </dgm:t>
    </dgm:pt>
    <dgm:pt modelId="{64C787F3-2068-421D-BD82-D745F1B49B24}" type="parTrans" cxnId="{85F8286D-9112-49B2-A9F2-29EDA742C9F5}">
      <dgm:prSet/>
      <dgm:spPr/>
      <dgm:t>
        <a:bodyPr/>
        <a:lstStyle/>
        <a:p>
          <a:endParaRPr lang="en-US"/>
        </a:p>
      </dgm:t>
    </dgm:pt>
    <dgm:pt modelId="{84A836FC-AAFB-43A3-89CD-795F4C35429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Le visage de la personne exprime-t-il de la chaleur et de l’intérêt? Ou est-il vide ou inconfortable?</a:t>
          </a:r>
        </a:p>
      </dgm:t>
    </dgm:pt>
    <dgm:pt modelId="{54346FDA-23C8-4590-AE78-C257FFBA5052}" type="sibTrans" cxnId="{85F8286D-9112-49B2-A9F2-29EDA742C9F5}">
      <dgm:prSet/>
      <dgm:spPr/>
      <dgm:t>
        <a:bodyPr/>
        <a:lstStyle/>
        <a:p>
          <a:endParaRPr lang="en-US"/>
        </a:p>
      </dgm:t>
    </dgm:pt>
    <dgm:pt modelId="{C58A6317-70AB-4D9F-B558-C995C9E345F3}" type="sibTrans" cxnId="{53A71237-D2A1-4175-8C73-E4C9BCBBC31C}">
      <dgm:prSet/>
      <dgm:spPr/>
      <dgm:t>
        <a:bodyPr/>
        <a:lstStyle/>
        <a:p>
          <a:endParaRPr lang="en-US"/>
        </a:p>
      </dgm:t>
    </dgm:pt>
    <dgm:pt modelId="{37BEA225-0283-4195-B462-B25B05722CBB}" type="parTrans" cxnId="{5190A2AE-4B4F-4849-923A-3C7183FD60FA}">
      <dgm:prSet/>
      <dgm:spPr/>
      <dgm:t>
        <a:bodyPr/>
        <a:lstStyle/>
        <a:p>
          <a:endParaRPr lang="en-US"/>
        </a:p>
      </dgm:t>
    </dgm:pt>
    <dgm:pt modelId="{9B75E048-2AA5-47D4-B202-E2AF294A9841}">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Ton de la voix</a:t>
          </a:r>
        </a:p>
      </dgm:t>
    </dgm:pt>
    <dgm:pt modelId="{9F71C79D-2DD7-4C89-AEFB-6AAFE803B690}" type="parTrans" cxnId="{528AA38E-23AA-408F-95D3-7BA7A2616C22}">
      <dgm:prSet/>
      <dgm:spPr/>
      <dgm:t>
        <a:bodyPr/>
        <a:lstStyle/>
        <a:p>
          <a:endParaRPr lang="en-US"/>
        </a:p>
      </dgm:t>
    </dgm:pt>
    <dgm:pt modelId="{DDF099B8-1FB4-42BC-8CF7-4F0946E8CE0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La voix de la personne projette-t-elle du réconfort ou de l’intérêt? Ou est-il filtré?</a:t>
          </a:r>
        </a:p>
      </dgm:t>
    </dgm:pt>
    <dgm:pt modelId="{94CDA1BF-C6A2-44A8-AD23-C61A10A970F6}" type="sibTrans" cxnId="{528AA38E-23AA-408F-95D3-7BA7A2616C22}">
      <dgm:prSet/>
      <dgm:spPr/>
      <dgm:t>
        <a:bodyPr/>
        <a:lstStyle/>
        <a:p>
          <a:endParaRPr lang="en-US"/>
        </a:p>
      </dgm:t>
    </dgm:pt>
    <dgm:pt modelId="{98FC8C8A-113E-4040-8FD7-F6E4AEB3E5A7}" type="sibTrans" cxnId="{5190A2AE-4B4F-4849-923A-3C7183FD60FA}">
      <dgm:prSet/>
      <dgm:spPr/>
      <dgm:t>
        <a:bodyPr/>
        <a:lstStyle/>
        <a:p>
          <a:endParaRPr lang="en-US"/>
        </a:p>
      </dgm:t>
    </dgm:pt>
    <dgm:pt modelId="{9ACD4190-12A2-49CD-AB0A-A5666B7B7918}" type="parTrans" cxnId="{EED24D47-6462-403B-BB91-D0A6089BE99C}">
      <dgm:prSet/>
      <dgm:spPr/>
      <dgm:t>
        <a:bodyPr/>
        <a:lstStyle/>
        <a:p>
          <a:endParaRPr lang="en-US"/>
        </a:p>
      </dgm:t>
    </dgm:pt>
    <dgm:pt modelId="{6CBE69AA-1EAC-4424-B2B7-3F6E128CB8BA}">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Posture et geste</a:t>
          </a:r>
        </a:p>
      </dgm:t>
    </dgm:pt>
    <dgm:pt modelId="{F38D2D14-BB0A-4111-968D-AD271D79AD40}" type="parTrans" cxnId="{EB7EE60A-8744-4024-B1AC-06727BB227E7}">
      <dgm:prSet/>
      <dgm:spPr/>
      <dgm:t>
        <a:bodyPr/>
        <a:lstStyle/>
        <a:p>
          <a:endParaRPr lang="en-US"/>
        </a:p>
      </dgm:t>
    </dgm:pt>
    <dgm:pt modelId="{BD181532-2AC9-4658-A2DD-0F002D43335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Le corps de la personne est-il détendu? Ou est-ce rigide et immobile?</a:t>
          </a:r>
        </a:p>
      </dgm:t>
    </dgm:pt>
    <dgm:pt modelId="{29DE9D28-1260-47FE-910D-47692CA2A79C}" type="sibTrans" cxnId="{EB7EE60A-8744-4024-B1AC-06727BB227E7}">
      <dgm:prSet/>
      <dgm:spPr/>
      <dgm:t>
        <a:bodyPr/>
        <a:lstStyle/>
        <a:p>
          <a:endParaRPr lang="en-US"/>
        </a:p>
      </dgm:t>
    </dgm:pt>
    <dgm:pt modelId="{7B16840F-5494-45CE-9189-F7F911A2009B}" type="sibTrans" cxnId="{EED24D47-6462-403B-BB91-D0A6089BE99C}">
      <dgm:prSet/>
      <dgm:spPr/>
      <dgm:t>
        <a:bodyPr/>
        <a:lstStyle/>
        <a:p>
          <a:endParaRPr lang="en-US"/>
        </a:p>
      </dgm:t>
    </dgm:pt>
    <dgm:pt modelId="{807F1521-882E-4D39-8BF8-417E16E78EDB}" type="parTrans" cxnId="{414EE05A-91D6-4B82-BC76-6E9BF5C0E2C6}">
      <dgm:prSet/>
      <dgm:spPr/>
      <dgm:t>
        <a:bodyPr/>
        <a:lstStyle/>
        <a:p>
          <a:endParaRPr lang="en-US"/>
        </a:p>
      </dgm:t>
    </dgm:pt>
    <dgm:pt modelId="{89CC7EA6-749B-42BC-978E-A38075F5C72B}">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Calendrier et lieu</a:t>
          </a:r>
        </a:p>
      </dgm:t>
    </dgm:pt>
    <dgm:pt modelId="{FDC2816E-1A03-468B-9061-AEA76AC6A994}" type="parTrans" cxnId="{DA2591AF-B194-4660-81FB-4268BAE488FE}">
      <dgm:prSet/>
      <dgm:spPr/>
      <dgm:t>
        <a:bodyPr/>
        <a:lstStyle/>
        <a:p>
          <a:endParaRPr lang="en-US"/>
        </a:p>
      </dgm:t>
    </dgm:pt>
    <dgm:pt modelId="{CF86E16C-B51F-4AC4-B847-500574210A2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Y a-t-il un flux d’information facile d’avant en arrière? Ou est-ce en grande partie une conversation unidirectionnelle?</a:t>
          </a:r>
        </a:p>
      </dgm:t>
    </dgm:pt>
    <dgm:pt modelId="{F690D86F-5A1D-4097-8241-2BC5BE27F639}" type="sibTrans" cxnId="{DA2591AF-B194-4660-81FB-4268BAE488FE}">
      <dgm:prSet/>
      <dgm:spPr/>
      <dgm:t>
        <a:bodyPr/>
        <a:lstStyle/>
        <a:p>
          <a:endParaRPr lang="en-US"/>
        </a:p>
      </dgm:t>
    </dgm:pt>
    <dgm:pt modelId="{343B9B90-5CA5-4DF2-A625-3A6F77D8A08D}" type="sibTrans" cxnId="{414EE05A-91D6-4B82-BC76-6E9BF5C0E2C6}">
      <dgm:prSet/>
      <dgm:spPr/>
      <dgm:t>
        <a:bodyPr/>
        <a:lstStyle/>
        <a:p>
          <a:endParaRPr lang="en-US"/>
        </a:p>
      </dgm:t>
    </dgm:pt>
    <dgm:pt modelId="{1D9BFEA0-AC8A-42F4-B30D-03560ADA1EA1}" type="parTrans" cxnId="{C53B8579-B60D-46AB-960D-FAEFC6CB6672}">
      <dgm:prSet/>
      <dgm:spPr/>
      <dgm:t>
        <a:bodyPr/>
        <a:lstStyle/>
        <a:p>
          <a:endParaRPr lang="en-US"/>
        </a:p>
      </dgm:t>
    </dgm:pt>
    <dgm:pt modelId="{D627C789-0051-4A89-95D0-9984E46E197F}">
      <dgm:prSet phldrT="[Text]" custT="1"/>
      <dgm:spPr>
        <a:noFill/>
        <a:ln>
          <a:noFill/>
        </a:ln>
      </dgm:spPr>
      <dgm:t>
        <a:bodyPr/>
        <a:lstStyle/>
        <a:p>
          <a:r>
            <a:rPr lang="fr-CA" sz="1800" b="0" i="0" strike="noStrike" cap="none" spc="0" baseline="0">
              <a:solidFill>
                <a:srgbClr val="000000"/>
              </a:solidFill>
              <a:effectLst/>
              <a:latin typeface="Calibri"/>
              <a:ea typeface="Calibri"/>
              <a:cs typeface="Calibri"/>
            </a:rPr>
            <a:t>Engagement</a:t>
          </a:r>
        </a:p>
      </dgm:t>
    </dgm:pt>
    <dgm:pt modelId="{EAD9AE3A-A04C-45C7-881F-78EF9496FA8C}" type="parTrans" cxnId="{77503172-859D-4ED4-9E9C-955D3177DB68}">
      <dgm:prSet/>
      <dgm:spPr/>
      <dgm:t>
        <a:bodyPr/>
        <a:lstStyle/>
        <a:p>
          <a:endParaRPr lang="en-US"/>
        </a:p>
      </dgm:t>
    </dgm:pt>
    <dgm:pt modelId="{DA8ECFEB-D442-451D-8936-BBB3F6B74CC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La personne semble-t-elle apprécier la conversation? Ou cherche-t-il à quitter l’interaction?</a:t>
          </a:r>
        </a:p>
      </dgm:t>
    </dgm:pt>
    <dgm:pt modelId="{97E46952-7C1B-4E28-9386-BD36EE33617D}" type="sibTrans" cxnId="{77503172-859D-4ED4-9E9C-955D3177DB68}">
      <dgm:prSet/>
      <dgm:spPr/>
      <dgm:t>
        <a:bodyPr/>
        <a:lstStyle/>
        <a:p>
          <a:endParaRPr lang="en-US"/>
        </a:p>
      </dgm:t>
    </dgm:pt>
    <dgm:pt modelId="{93187921-8FD1-4FDC-8010-6C08D72CF9A5}" type="sibTrans" cxnId="{C53B8579-B60D-46AB-960D-FAEFC6CB6672}">
      <dgm:prSet/>
      <dgm:spPr/>
      <dgm:t>
        <a:bodyPr/>
        <a:lstStyle/>
        <a:p>
          <a:endParaRPr lang="en-US"/>
        </a:p>
      </dgm:t>
    </dgm:pt>
    <dgm:pt modelId="{60E112F2-CD0F-460D-921B-374A913F71ED}" type="pres">
      <dgm:prSet presAssocID="{A9FC8E42-7B95-42F1-983B-A5AE72E8C5C0}" presName="Name0" presStyleCnt="0">
        <dgm:presLayoutVars>
          <dgm:dir/>
          <dgm:animLvl val="lvl"/>
          <dgm:resizeHandles val="exact"/>
        </dgm:presLayoutVars>
      </dgm:prSet>
      <dgm:spPr/>
    </dgm:pt>
    <dgm:pt modelId="{1A038524-604E-4D2F-9D7E-113C69B7C141}" type="pres">
      <dgm:prSet presAssocID="{972C802A-DE7C-4CFB-AB82-96FFF3476E4E}" presName="linNode" presStyleCnt="0"/>
      <dgm:spPr/>
    </dgm:pt>
    <dgm:pt modelId="{66F51E0D-D045-4E2B-AB0C-4F2EC15C2742}" type="pres">
      <dgm:prSet presAssocID="{972C802A-DE7C-4CFB-AB82-96FFF3476E4E}" presName="parTx" presStyleLbl="revTx" presStyleIdx="0" presStyleCnt="6">
        <dgm:presLayoutVars>
          <dgm:chMax val="1"/>
          <dgm:bulletEnabled val="1"/>
        </dgm:presLayoutVars>
      </dgm:prSet>
      <dgm:spPr/>
    </dgm:pt>
    <dgm:pt modelId="{FC80247D-E118-4105-90BF-F29AB52D411B}" type="pres">
      <dgm:prSet presAssocID="{972C802A-DE7C-4CFB-AB82-96FFF3476E4E}" presName="bracket" presStyleLbl="parChTrans1D1" presStyleIdx="0" presStyleCnt="6"/>
      <dgm:spPr>
        <a:noFill/>
        <a:ln w="12700" cap="flat" cmpd="sng" algn="ctr">
          <a:solidFill>
            <a:schemeClr val="accent1">
              <a:shade val="60000"/>
              <a:hueOff val="0"/>
              <a:satOff val="0"/>
              <a:lumOff val="0"/>
              <a:alphaOff val="0"/>
            </a:schemeClr>
          </a:solidFill>
          <a:prstDash val="solid"/>
          <a:miter lim="800000"/>
        </a:ln>
      </dgm:spPr>
    </dgm:pt>
    <dgm:pt modelId="{0FD2FB49-ED8B-4824-AEAF-3A94420311F8}" type="pres">
      <dgm:prSet presAssocID="{972C802A-DE7C-4CFB-AB82-96FFF3476E4E}" presName="spH" presStyleCnt="0"/>
      <dgm:spPr/>
    </dgm:pt>
    <dgm:pt modelId="{D5929079-7C2E-4F45-A6B9-1B7792F83AEF}" type="pres">
      <dgm:prSet presAssocID="{972C802A-DE7C-4CFB-AB82-96FFF3476E4E}" presName="desTx" presStyleLbl="node1" presStyleIdx="0" presStyleCnt="6">
        <dgm:presLayoutVars>
          <dgm:bulletEnabled val="1"/>
        </dgm:presLayoutVars>
      </dgm:prSet>
      <dgm:spPr/>
    </dgm:pt>
    <dgm:pt modelId="{7DF0E247-63B9-4008-A971-6F49D7F9E081}" type="pres">
      <dgm:prSet presAssocID="{256E1FC6-3853-4AE2-86E4-6245C7BF4F37}" presName="spV" presStyleCnt="0"/>
      <dgm:spPr/>
    </dgm:pt>
    <dgm:pt modelId="{E59D26DB-AF0C-4FA9-84AF-32ED08C4AC0A}" type="pres">
      <dgm:prSet presAssocID="{F338A198-B74D-4D23-AE14-A82F11E1DAD8}" presName="linNode" presStyleCnt="0"/>
      <dgm:spPr/>
    </dgm:pt>
    <dgm:pt modelId="{33D9AD84-C2DD-43AA-B8C0-6E15771BE78B}" type="pres">
      <dgm:prSet presAssocID="{F338A198-B74D-4D23-AE14-A82F11E1DAD8}" presName="parTx" presStyleLbl="revTx" presStyleIdx="1" presStyleCnt="6">
        <dgm:presLayoutVars>
          <dgm:chMax val="1"/>
          <dgm:bulletEnabled val="1"/>
        </dgm:presLayoutVars>
      </dgm:prSet>
      <dgm:spPr/>
    </dgm:pt>
    <dgm:pt modelId="{9117B35D-C06B-428F-8A45-50C11E8FFA23}" type="pres">
      <dgm:prSet presAssocID="{F338A198-B74D-4D23-AE14-A82F11E1DAD8}" presName="bracket" presStyleLbl="parChTrans1D1" presStyleIdx="1" presStyleCnt="6"/>
      <dgm:spPr>
        <a:noFill/>
        <a:ln w="12700" cap="flat" cmpd="sng" algn="ctr">
          <a:solidFill>
            <a:schemeClr val="accent1">
              <a:shade val="60000"/>
              <a:hueOff val="0"/>
              <a:satOff val="0"/>
              <a:lumOff val="0"/>
              <a:alphaOff val="0"/>
            </a:schemeClr>
          </a:solidFill>
          <a:prstDash val="solid"/>
          <a:miter lim="800000"/>
        </a:ln>
      </dgm:spPr>
    </dgm:pt>
    <dgm:pt modelId="{EA474D2E-5346-44AA-8F49-9AD64CE626D8}" type="pres">
      <dgm:prSet presAssocID="{F338A198-B74D-4D23-AE14-A82F11E1DAD8}" presName="spH" presStyleCnt="0"/>
      <dgm:spPr/>
    </dgm:pt>
    <dgm:pt modelId="{34E5CFAF-7A5E-4128-8997-A5651A906319}" type="pres">
      <dgm:prSet presAssocID="{F338A198-B74D-4D23-AE14-A82F11E1DAD8}" presName="desTx" presStyleLbl="node1" presStyleIdx="1" presStyleCnt="6">
        <dgm:presLayoutVars>
          <dgm:bulletEnabled val="1"/>
        </dgm:presLayoutVars>
      </dgm:prSet>
      <dgm:spPr/>
    </dgm:pt>
    <dgm:pt modelId="{00C54DFA-A3F8-406C-B094-0E3D2CF0786D}" type="pres">
      <dgm:prSet presAssocID="{C58A6317-70AB-4D9F-B558-C995C9E345F3}" presName="spV" presStyleCnt="0"/>
      <dgm:spPr/>
    </dgm:pt>
    <dgm:pt modelId="{92973F54-1F5B-4C40-BBAB-9E62B4F56DA9}" type="pres">
      <dgm:prSet presAssocID="{9B75E048-2AA5-47D4-B202-E2AF294A9841}" presName="linNode" presStyleCnt="0"/>
      <dgm:spPr/>
    </dgm:pt>
    <dgm:pt modelId="{5400C3F5-CC03-4C92-9C64-BD6ED3005EC2}" type="pres">
      <dgm:prSet presAssocID="{9B75E048-2AA5-47D4-B202-E2AF294A9841}" presName="parTx" presStyleLbl="revTx" presStyleIdx="2" presStyleCnt="6">
        <dgm:presLayoutVars>
          <dgm:chMax val="1"/>
          <dgm:bulletEnabled val="1"/>
        </dgm:presLayoutVars>
      </dgm:prSet>
      <dgm:spPr/>
    </dgm:pt>
    <dgm:pt modelId="{C3AF3EC1-996A-46C1-B710-476892751235}" type="pres">
      <dgm:prSet presAssocID="{9B75E048-2AA5-47D4-B202-E2AF294A9841}" presName="bracket" presStyleLbl="parChTrans1D1" presStyleIdx="2" presStyleCnt="6"/>
      <dgm:spPr>
        <a:noFill/>
        <a:ln w="12700" cap="flat" cmpd="sng" algn="ctr">
          <a:solidFill>
            <a:schemeClr val="accent1">
              <a:shade val="60000"/>
              <a:hueOff val="0"/>
              <a:satOff val="0"/>
              <a:lumOff val="0"/>
              <a:alphaOff val="0"/>
            </a:schemeClr>
          </a:solidFill>
          <a:prstDash val="solid"/>
          <a:miter lim="800000"/>
        </a:ln>
      </dgm:spPr>
    </dgm:pt>
    <dgm:pt modelId="{7A4A087B-252F-42E5-A266-D59FD817BE35}" type="pres">
      <dgm:prSet presAssocID="{9B75E048-2AA5-47D4-B202-E2AF294A9841}" presName="spH" presStyleCnt="0"/>
      <dgm:spPr/>
    </dgm:pt>
    <dgm:pt modelId="{2A87B468-0784-4F3F-9515-BBB3492CC8A0}" type="pres">
      <dgm:prSet presAssocID="{9B75E048-2AA5-47D4-B202-E2AF294A9841}" presName="desTx" presStyleLbl="node1" presStyleIdx="2" presStyleCnt="6">
        <dgm:presLayoutVars>
          <dgm:bulletEnabled val="1"/>
        </dgm:presLayoutVars>
      </dgm:prSet>
      <dgm:spPr/>
    </dgm:pt>
    <dgm:pt modelId="{DB5F5B3A-2AB1-40C7-A339-6D58ABE1BB22}" type="pres">
      <dgm:prSet presAssocID="{98FC8C8A-113E-4040-8FD7-F6E4AEB3E5A7}" presName="spV" presStyleCnt="0"/>
      <dgm:spPr/>
    </dgm:pt>
    <dgm:pt modelId="{308F86B7-D941-4219-B1EF-1DF0218329AF}" type="pres">
      <dgm:prSet presAssocID="{6CBE69AA-1EAC-4424-B2B7-3F6E128CB8BA}" presName="linNode" presStyleCnt="0"/>
      <dgm:spPr/>
    </dgm:pt>
    <dgm:pt modelId="{85BD6EBC-B7BD-4283-9195-03758FD188DF}" type="pres">
      <dgm:prSet presAssocID="{6CBE69AA-1EAC-4424-B2B7-3F6E128CB8BA}" presName="parTx" presStyleLbl="revTx" presStyleIdx="3" presStyleCnt="6">
        <dgm:presLayoutVars>
          <dgm:chMax val="1"/>
          <dgm:bulletEnabled val="1"/>
        </dgm:presLayoutVars>
      </dgm:prSet>
      <dgm:spPr/>
    </dgm:pt>
    <dgm:pt modelId="{E0FC9C9B-F53E-4A4C-8BA2-1529EE697C2B}" type="pres">
      <dgm:prSet presAssocID="{6CBE69AA-1EAC-4424-B2B7-3F6E128CB8BA}" presName="bracket" presStyleLbl="parChTrans1D1" presStyleIdx="3" presStyleCnt="6"/>
      <dgm:spPr>
        <a:noFill/>
        <a:ln w="12700" cap="flat" cmpd="sng" algn="ctr">
          <a:solidFill>
            <a:schemeClr val="accent1">
              <a:shade val="60000"/>
              <a:hueOff val="0"/>
              <a:satOff val="0"/>
              <a:lumOff val="0"/>
              <a:alphaOff val="0"/>
            </a:schemeClr>
          </a:solidFill>
          <a:prstDash val="solid"/>
          <a:miter lim="800000"/>
        </a:ln>
      </dgm:spPr>
    </dgm:pt>
    <dgm:pt modelId="{F34B3F96-6075-42A2-BF96-870BB31D26EF}" type="pres">
      <dgm:prSet presAssocID="{6CBE69AA-1EAC-4424-B2B7-3F6E128CB8BA}" presName="spH" presStyleCnt="0"/>
      <dgm:spPr/>
    </dgm:pt>
    <dgm:pt modelId="{0ECD8488-674C-4C0C-9655-2C89CD3ACFBA}" type="pres">
      <dgm:prSet presAssocID="{6CBE69AA-1EAC-4424-B2B7-3F6E128CB8BA}" presName="desTx" presStyleLbl="node1" presStyleIdx="3" presStyleCnt="6">
        <dgm:presLayoutVars>
          <dgm:bulletEnabled val="1"/>
        </dgm:presLayoutVars>
      </dgm:prSet>
      <dgm:spPr/>
    </dgm:pt>
    <dgm:pt modelId="{6D7C8854-9976-4879-849A-A5B35E279A0D}" type="pres">
      <dgm:prSet presAssocID="{7B16840F-5494-45CE-9189-F7F911A2009B}" presName="spV" presStyleCnt="0"/>
      <dgm:spPr/>
    </dgm:pt>
    <dgm:pt modelId="{24457AD7-6E8B-451C-9C78-107477CEA4C7}" type="pres">
      <dgm:prSet presAssocID="{89CC7EA6-749B-42BC-978E-A38075F5C72B}" presName="linNode" presStyleCnt="0"/>
      <dgm:spPr/>
    </dgm:pt>
    <dgm:pt modelId="{A3CD7AA6-38F4-4A44-AF0C-AA53CC2A4238}" type="pres">
      <dgm:prSet presAssocID="{89CC7EA6-749B-42BC-978E-A38075F5C72B}" presName="parTx" presStyleLbl="revTx" presStyleIdx="4" presStyleCnt="6">
        <dgm:presLayoutVars>
          <dgm:chMax val="1"/>
          <dgm:bulletEnabled val="1"/>
        </dgm:presLayoutVars>
      </dgm:prSet>
      <dgm:spPr/>
    </dgm:pt>
    <dgm:pt modelId="{A0BBA243-A395-4F9E-9DD5-840A3D69F33B}" type="pres">
      <dgm:prSet presAssocID="{89CC7EA6-749B-42BC-978E-A38075F5C72B}" presName="bracket" presStyleLbl="parChTrans1D1" presStyleIdx="4" presStyleCnt="6"/>
      <dgm:spPr>
        <a:noFill/>
        <a:ln w="12700" cap="flat" cmpd="sng" algn="ctr">
          <a:solidFill>
            <a:schemeClr val="accent1">
              <a:shade val="60000"/>
              <a:hueOff val="0"/>
              <a:satOff val="0"/>
              <a:lumOff val="0"/>
              <a:alphaOff val="0"/>
            </a:schemeClr>
          </a:solidFill>
          <a:prstDash val="solid"/>
          <a:miter lim="800000"/>
        </a:ln>
      </dgm:spPr>
    </dgm:pt>
    <dgm:pt modelId="{9650CA60-831C-4DAE-AD3E-09277EDC17F8}" type="pres">
      <dgm:prSet presAssocID="{89CC7EA6-749B-42BC-978E-A38075F5C72B}" presName="spH" presStyleCnt="0"/>
      <dgm:spPr/>
    </dgm:pt>
    <dgm:pt modelId="{66AAEBA6-B695-4691-8B00-49D1E4CA4B7B}" type="pres">
      <dgm:prSet presAssocID="{89CC7EA6-749B-42BC-978E-A38075F5C72B}" presName="desTx" presStyleLbl="node1" presStyleIdx="4" presStyleCnt="6">
        <dgm:presLayoutVars>
          <dgm:bulletEnabled val="1"/>
        </dgm:presLayoutVars>
      </dgm:prSet>
      <dgm:spPr/>
    </dgm:pt>
    <dgm:pt modelId="{A5ED09AD-6A6C-4925-BEC7-2C2EBCB9A713}" type="pres">
      <dgm:prSet presAssocID="{343B9B90-5CA5-4DF2-A625-3A6F77D8A08D}" presName="spV" presStyleCnt="0"/>
      <dgm:spPr/>
    </dgm:pt>
    <dgm:pt modelId="{79C6ACE2-EAD3-40F1-A40D-7C08DA6A36F9}" type="pres">
      <dgm:prSet presAssocID="{D627C789-0051-4A89-95D0-9984E46E197F}" presName="linNode" presStyleCnt="0"/>
      <dgm:spPr/>
    </dgm:pt>
    <dgm:pt modelId="{1165B149-41F8-4D08-BA1A-5857706E9CDE}" type="pres">
      <dgm:prSet presAssocID="{D627C789-0051-4A89-95D0-9984E46E197F}" presName="parTx" presStyleLbl="revTx" presStyleIdx="5" presStyleCnt="6">
        <dgm:presLayoutVars>
          <dgm:chMax val="1"/>
          <dgm:bulletEnabled val="1"/>
        </dgm:presLayoutVars>
      </dgm:prSet>
      <dgm:spPr/>
    </dgm:pt>
    <dgm:pt modelId="{0A6E157B-C627-4B14-8B26-59B96448430A}" type="pres">
      <dgm:prSet presAssocID="{D627C789-0051-4A89-95D0-9984E46E197F}" presName="bracket" presStyleLbl="parChTrans1D1" presStyleIdx="5" presStyleCnt="6"/>
      <dgm:spPr>
        <a:noFill/>
        <a:ln w="12700" cap="flat" cmpd="sng" algn="ctr">
          <a:solidFill>
            <a:schemeClr val="accent1">
              <a:shade val="60000"/>
              <a:hueOff val="0"/>
              <a:satOff val="0"/>
              <a:lumOff val="0"/>
              <a:alphaOff val="0"/>
            </a:schemeClr>
          </a:solidFill>
          <a:prstDash val="solid"/>
          <a:miter lim="800000"/>
        </a:ln>
      </dgm:spPr>
    </dgm:pt>
    <dgm:pt modelId="{2D612181-86BE-42DF-B0C0-83C5CE48BEBE}" type="pres">
      <dgm:prSet presAssocID="{D627C789-0051-4A89-95D0-9984E46E197F}" presName="spH" presStyleCnt="0"/>
      <dgm:spPr/>
    </dgm:pt>
    <dgm:pt modelId="{B846999F-8B22-4EFB-AAE0-C9D0AFC0A833}" type="pres">
      <dgm:prSet presAssocID="{D627C789-0051-4A89-95D0-9984E46E197F}" presName="desTx" presStyleLbl="node1" presStyleIdx="5" presStyleCnt="6">
        <dgm:presLayoutVars>
          <dgm:bulletEnabled val="1"/>
        </dgm:presLayoutVars>
      </dgm:prSet>
      <dgm:spPr/>
    </dgm:pt>
  </dgm:ptLst>
  <dgm:cxnLst>
    <dgm:cxn modelId="{3F7D5F0A-0CFB-4A9A-B4AA-6048F160CDEA}" type="presOf" srcId="{5F062A7C-B06E-4406-B0DD-354232FCE705}" destId="{D5929079-7C2E-4F45-A6B9-1B7792F83AEF}" srcOrd="0" destOrd="0" presId="urn:diagrams.loki3.com/BracketList"/>
    <dgm:cxn modelId="{EB7EE60A-8744-4024-B1AC-06727BB227E7}" srcId="{6CBE69AA-1EAC-4424-B2B7-3F6E128CB8BA}" destId="{BD181532-2AC9-4658-A2DD-0F002D433353}" srcOrd="0" destOrd="0" parTransId="{F38D2D14-BB0A-4111-968D-AD271D79AD40}" sibTransId="{29DE9D28-1260-47FE-910D-47692CA2A79C}"/>
    <dgm:cxn modelId="{27E79216-74DE-4420-A400-20F546E6B667}" type="presOf" srcId="{F338A198-B74D-4D23-AE14-A82F11E1DAD8}" destId="{33D9AD84-C2DD-43AA-B8C0-6E15771BE78B}" srcOrd="0" destOrd="0" presId="urn:diagrams.loki3.com/BracketList"/>
    <dgm:cxn modelId="{9979DF16-5D09-4770-A078-34B71055E2F7}" srcId="{A9FC8E42-7B95-42F1-983B-A5AE72E8C5C0}" destId="{972C802A-DE7C-4CFB-AB82-96FFF3476E4E}" srcOrd="0" destOrd="0" parTransId="{EB4AC6B5-0AE8-4CF2-984B-CC67AC15CFC5}" sibTransId="{256E1FC6-3853-4AE2-86E4-6245C7BF4F37}"/>
    <dgm:cxn modelId="{48DB9217-7CB4-42A2-9930-CCE396CAD1E2}" type="presOf" srcId="{CF86E16C-B51F-4AC4-B847-500574210A22}" destId="{66AAEBA6-B695-4691-8B00-49D1E4CA4B7B}" srcOrd="0" destOrd="0" presId="urn:diagrams.loki3.com/BracketList"/>
    <dgm:cxn modelId="{07A18C1D-3EBF-4C23-B5ED-EFBB698CFAC2}" type="presOf" srcId="{D627C789-0051-4A89-95D0-9984E46E197F}" destId="{1165B149-41F8-4D08-BA1A-5857706E9CDE}" srcOrd="0" destOrd="0" presId="urn:diagrams.loki3.com/BracketList"/>
    <dgm:cxn modelId="{3082061F-FFE6-4273-A8B3-5610E9789F74}" type="presOf" srcId="{BD181532-2AC9-4658-A2DD-0F002D433353}" destId="{0ECD8488-674C-4C0C-9655-2C89CD3ACFBA}" srcOrd="0" destOrd="0" presId="urn:diagrams.loki3.com/BracketList"/>
    <dgm:cxn modelId="{88C15B2D-BDD7-4CA2-8E84-A80306054511}" type="presOf" srcId="{6CBE69AA-1EAC-4424-B2B7-3F6E128CB8BA}" destId="{85BD6EBC-B7BD-4283-9195-03758FD188DF}" srcOrd="0" destOrd="0" presId="urn:diagrams.loki3.com/BracketList"/>
    <dgm:cxn modelId="{53A71237-D2A1-4175-8C73-E4C9BCBBC31C}" srcId="{A9FC8E42-7B95-42F1-983B-A5AE72E8C5C0}" destId="{F338A198-B74D-4D23-AE14-A82F11E1DAD8}" srcOrd="1" destOrd="0" parTransId="{67B9D431-DA4A-4643-B490-76689F1C1084}" sibTransId="{C58A6317-70AB-4D9F-B558-C995C9E345F3}"/>
    <dgm:cxn modelId="{20C32E40-8884-4E27-8418-261FAB3D80DA}" type="presOf" srcId="{972C802A-DE7C-4CFB-AB82-96FFF3476E4E}" destId="{66F51E0D-D045-4E2B-AB0C-4F2EC15C2742}" srcOrd="0" destOrd="0" presId="urn:diagrams.loki3.com/BracketList"/>
    <dgm:cxn modelId="{5E940C5C-FE16-4473-BAEE-3236785077B0}" type="presOf" srcId="{84A836FC-AAFB-43A3-89CD-795F4C354296}" destId="{34E5CFAF-7A5E-4128-8997-A5651A906319}" srcOrd="0" destOrd="0" presId="urn:diagrams.loki3.com/BracketList"/>
    <dgm:cxn modelId="{7EADB266-0689-4387-9697-A07C4D81613B}" type="presOf" srcId="{A9FC8E42-7B95-42F1-983B-A5AE72E8C5C0}" destId="{60E112F2-CD0F-460D-921B-374A913F71ED}" srcOrd="0" destOrd="0" presId="urn:diagrams.loki3.com/BracketList"/>
    <dgm:cxn modelId="{EED24D47-6462-403B-BB91-D0A6089BE99C}" srcId="{A9FC8E42-7B95-42F1-983B-A5AE72E8C5C0}" destId="{6CBE69AA-1EAC-4424-B2B7-3F6E128CB8BA}" srcOrd="3" destOrd="0" parTransId="{9ACD4190-12A2-49CD-AB0A-A5666B7B7918}" sibTransId="{7B16840F-5494-45CE-9189-F7F911A2009B}"/>
    <dgm:cxn modelId="{02C5AD48-B9A5-461E-BA9A-8C1AE584B29B}" type="presOf" srcId="{DA8ECFEB-D442-451D-8936-BBB3F6B74CCF}" destId="{B846999F-8B22-4EFB-AAE0-C9D0AFC0A833}" srcOrd="0" destOrd="0" presId="urn:diagrams.loki3.com/BracketList"/>
    <dgm:cxn modelId="{85F8286D-9112-49B2-A9F2-29EDA742C9F5}" srcId="{F338A198-B74D-4D23-AE14-A82F11E1DAD8}" destId="{84A836FC-AAFB-43A3-89CD-795F4C354296}" srcOrd="0" destOrd="0" parTransId="{64C787F3-2068-421D-BD82-D745F1B49B24}" sibTransId="{54346FDA-23C8-4590-AE78-C257FFBA5052}"/>
    <dgm:cxn modelId="{77503172-859D-4ED4-9E9C-955D3177DB68}" srcId="{D627C789-0051-4A89-95D0-9984E46E197F}" destId="{DA8ECFEB-D442-451D-8936-BBB3F6B74CCF}" srcOrd="0" destOrd="0" parTransId="{EAD9AE3A-A04C-45C7-881F-78EF9496FA8C}" sibTransId="{97E46952-7C1B-4E28-9386-BD36EE33617D}"/>
    <dgm:cxn modelId="{C53B8579-B60D-46AB-960D-FAEFC6CB6672}" srcId="{A9FC8E42-7B95-42F1-983B-A5AE72E8C5C0}" destId="{D627C789-0051-4A89-95D0-9984E46E197F}" srcOrd="5" destOrd="0" parTransId="{1D9BFEA0-AC8A-42F4-B30D-03560ADA1EA1}" sibTransId="{93187921-8FD1-4FDC-8010-6C08D72CF9A5}"/>
    <dgm:cxn modelId="{414EE05A-91D6-4B82-BC76-6E9BF5C0E2C6}" srcId="{A9FC8E42-7B95-42F1-983B-A5AE72E8C5C0}" destId="{89CC7EA6-749B-42BC-978E-A38075F5C72B}" srcOrd="4" destOrd="0" parTransId="{807F1521-882E-4D39-8BF8-417E16E78EDB}" sibTransId="{343B9B90-5CA5-4DF2-A625-3A6F77D8A08D}"/>
    <dgm:cxn modelId="{528AA38E-23AA-408F-95D3-7BA7A2616C22}" srcId="{9B75E048-2AA5-47D4-B202-E2AF294A9841}" destId="{DDF099B8-1FB4-42BC-8CF7-4F0946E8CE06}" srcOrd="0" destOrd="0" parTransId="{9F71C79D-2DD7-4C89-AEFB-6AAFE803B690}" sibTransId="{94CDA1BF-C6A2-44A8-AD23-C61A10A970F6}"/>
    <dgm:cxn modelId="{6436619A-E8DA-4867-9D65-C57747D62352}" srcId="{972C802A-DE7C-4CFB-AB82-96FFF3476E4E}" destId="{5F062A7C-B06E-4406-B0DD-354232FCE705}" srcOrd="0" destOrd="0" parTransId="{FECE0BF8-ECB4-4A4E-8988-734D3D2C1857}" sibTransId="{CA457DF6-CDBB-4DA3-BD1A-617D376AAEBA}"/>
    <dgm:cxn modelId="{5190A2AE-4B4F-4849-923A-3C7183FD60FA}" srcId="{A9FC8E42-7B95-42F1-983B-A5AE72E8C5C0}" destId="{9B75E048-2AA5-47D4-B202-E2AF294A9841}" srcOrd="2" destOrd="0" parTransId="{37BEA225-0283-4195-B462-B25B05722CBB}" sibTransId="{98FC8C8A-113E-4040-8FD7-F6E4AEB3E5A7}"/>
    <dgm:cxn modelId="{DA2591AF-B194-4660-81FB-4268BAE488FE}" srcId="{89CC7EA6-749B-42BC-978E-A38075F5C72B}" destId="{CF86E16C-B51F-4AC4-B847-500574210A22}" srcOrd="0" destOrd="0" parTransId="{FDC2816E-1A03-468B-9061-AEA76AC6A994}" sibTransId="{F690D86F-5A1D-4097-8241-2BC5BE27F639}"/>
    <dgm:cxn modelId="{DFA443B7-A38C-4641-A42E-30B76ACF7A7E}" type="presOf" srcId="{89CC7EA6-749B-42BC-978E-A38075F5C72B}" destId="{A3CD7AA6-38F4-4A44-AF0C-AA53CC2A4238}" srcOrd="0" destOrd="0" presId="urn:diagrams.loki3.com/BracketList"/>
    <dgm:cxn modelId="{301140CB-331B-4717-857D-C9B8DA4E18B9}" type="presOf" srcId="{9B75E048-2AA5-47D4-B202-E2AF294A9841}" destId="{5400C3F5-CC03-4C92-9C64-BD6ED3005EC2}" srcOrd="0" destOrd="0" presId="urn:diagrams.loki3.com/BracketList"/>
    <dgm:cxn modelId="{8013CFEA-052D-4A7C-9E45-B2455CC08C54}" type="presOf" srcId="{DDF099B8-1FB4-42BC-8CF7-4F0946E8CE06}" destId="{2A87B468-0784-4F3F-9515-BBB3492CC8A0}" srcOrd="0" destOrd="0" presId="urn:diagrams.loki3.com/BracketList"/>
    <dgm:cxn modelId="{250A38FE-FCDC-4E0B-BB45-9D432C8DA38D}" type="presParOf" srcId="{60E112F2-CD0F-460D-921B-374A913F71ED}" destId="{1A038524-604E-4D2F-9D7E-113C69B7C141}" srcOrd="0" destOrd="0" presId="urn:diagrams.loki3.com/BracketList"/>
    <dgm:cxn modelId="{E45F174D-84FA-4F08-A8B3-470A1B586A89}" type="presParOf" srcId="{1A038524-604E-4D2F-9D7E-113C69B7C141}" destId="{66F51E0D-D045-4E2B-AB0C-4F2EC15C2742}" srcOrd="0" destOrd="0" presId="urn:diagrams.loki3.com/BracketList"/>
    <dgm:cxn modelId="{70DB5A8F-9BBE-4D74-9F36-2DF093DD7CC3}" type="presParOf" srcId="{1A038524-604E-4D2F-9D7E-113C69B7C141}" destId="{FC80247D-E118-4105-90BF-F29AB52D411B}" srcOrd="1" destOrd="0" presId="urn:diagrams.loki3.com/BracketList"/>
    <dgm:cxn modelId="{FC824CA6-3299-43BD-8D68-89E3275050FD}" type="presParOf" srcId="{1A038524-604E-4D2F-9D7E-113C69B7C141}" destId="{0FD2FB49-ED8B-4824-AEAF-3A94420311F8}" srcOrd="2" destOrd="0" presId="urn:diagrams.loki3.com/BracketList"/>
    <dgm:cxn modelId="{8D6CC1FF-D4E4-47BF-83CC-B1643EBDF8E2}" type="presParOf" srcId="{1A038524-604E-4D2F-9D7E-113C69B7C141}" destId="{D5929079-7C2E-4F45-A6B9-1B7792F83AEF}" srcOrd="3" destOrd="0" presId="urn:diagrams.loki3.com/BracketList"/>
    <dgm:cxn modelId="{E22DEE38-CC88-481B-AC83-18837EB767F1}" type="presParOf" srcId="{60E112F2-CD0F-460D-921B-374A913F71ED}" destId="{7DF0E247-63B9-4008-A971-6F49D7F9E081}" srcOrd="1" destOrd="0" presId="urn:diagrams.loki3.com/BracketList"/>
    <dgm:cxn modelId="{D6D8A2E8-DA9B-4C3D-8812-76B43B746601}" type="presParOf" srcId="{60E112F2-CD0F-460D-921B-374A913F71ED}" destId="{E59D26DB-AF0C-4FA9-84AF-32ED08C4AC0A}" srcOrd="2" destOrd="0" presId="urn:diagrams.loki3.com/BracketList"/>
    <dgm:cxn modelId="{3F9E7AE4-1614-4C68-AD71-AD4C7923A11C}" type="presParOf" srcId="{E59D26DB-AF0C-4FA9-84AF-32ED08C4AC0A}" destId="{33D9AD84-C2DD-43AA-B8C0-6E15771BE78B}" srcOrd="0" destOrd="0" presId="urn:diagrams.loki3.com/BracketList"/>
    <dgm:cxn modelId="{E62C03B0-FEA8-44F1-85FB-A1AC8A1653F9}" type="presParOf" srcId="{E59D26DB-AF0C-4FA9-84AF-32ED08C4AC0A}" destId="{9117B35D-C06B-428F-8A45-50C11E8FFA23}" srcOrd="1" destOrd="0" presId="urn:diagrams.loki3.com/BracketList"/>
    <dgm:cxn modelId="{42F6318B-1A77-4C64-8B64-DF3F68B6B4F2}" type="presParOf" srcId="{E59D26DB-AF0C-4FA9-84AF-32ED08C4AC0A}" destId="{EA474D2E-5346-44AA-8F49-9AD64CE626D8}" srcOrd="2" destOrd="0" presId="urn:diagrams.loki3.com/BracketList"/>
    <dgm:cxn modelId="{7C7DF5FD-3E2C-45CF-AC8B-844223CBAE3B}" type="presParOf" srcId="{E59D26DB-AF0C-4FA9-84AF-32ED08C4AC0A}" destId="{34E5CFAF-7A5E-4128-8997-A5651A906319}" srcOrd="3" destOrd="0" presId="urn:diagrams.loki3.com/BracketList"/>
    <dgm:cxn modelId="{1CB4CCD9-A81C-4DD6-91F3-2A804C12272F}" type="presParOf" srcId="{60E112F2-CD0F-460D-921B-374A913F71ED}" destId="{00C54DFA-A3F8-406C-B094-0E3D2CF0786D}" srcOrd="3" destOrd="0" presId="urn:diagrams.loki3.com/BracketList"/>
    <dgm:cxn modelId="{18253C5C-AE63-432E-84C9-9E275968F0F7}" type="presParOf" srcId="{60E112F2-CD0F-460D-921B-374A913F71ED}" destId="{92973F54-1F5B-4C40-BBAB-9E62B4F56DA9}" srcOrd="4" destOrd="0" presId="urn:diagrams.loki3.com/BracketList"/>
    <dgm:cxn modelId="{882AD605-A525-4A3F-923B-ED3491368F03}" type="presParOf" srcId="{92973F54-1F5B-4C40-BBAB-9E62B4F56DA9}" destId="{5400C3F5-CC03-4C92-9C64-BD6ED3005EC2}" srcOrd="0" destOrd="0" presId="urn:diagrams.loki3.com/BracketList"/>
    <dgm:cxn modelId="{A47AC877-9B07-4BC5-BDB8-27F84A7A05F4}" type="presParOf" srcId="{92973F54-1F5B-4C40-BBAB-9E62B4F56DA9}" destId="{C3AF3EC1-996A-46C1-B710-476892751235}" srcOrd="1" destOrd="0" presId="urn:diagrams.loki3.com/BracketList"/>
    <dgm:cxn modelId="{2FDB0C87-21F7-4C7D-8685-50DDC78A1F5A}" type="presParOf" srcId="{92973F54-1F5B-4C40-BBAB-9E62B4F56DA9}" destId="{7A4A087B-252F-42E5-A266-D59FD817BE35}" srcOrd="2" destOrd="0" presId="urn:diagrams.loki3.com/BracketList"/>
    <dgm:cxn modelId="{CF439DE1-D3C1-4658-875E-4E21A3246CE4}" type="presParOf" srcId="{92973F54-1F5B-4C40-BBAB-9E62B4F56DA9}" destId="{2A87B468-0784-4F3F-9515-BBB3492CC8A0}" srcOrd="3" destOrd="0" presId="urn:diagrams.loki3.com/BracketList"/>
    <dgm:cxn modelId="{FFCE3D21-43E3-4828-96F9-6F0ECD863CBF}" type="presParOf" srcId="{60E112F2-CD0F-460D-921B-374A913F71ED}" destId="{DB5F5B3A-2AB1-40C7-A339-6D58ABE1BB22}" srcOrd="5" destOrd="0" presId="urn:diagrams.loki3.com/BracketList"/>
    <dgm:cxn modelId="{D0A069BF-2ED6-43CF-BA1C-D1DF1B2EB14B}" type="presParOf" srcId="{60E112F2-CD0F-460D-921B-374A913F71ED}" destId="{308F86B7-D941-4219-B1EF-1DF0218329AF}" srcOrd="6" destOrd="0" presId="urn:diagrams.loki3.com/BracketList"/>
    <dgm:cxn modelId="{49AD3C08-FC1F-4CD4-B14D-362E3D9A07D8}" type="presParOf" srcId="{308F86B7-D941-4219-B1EF-1DF0218329AF}" destId="{85BD6EBC-B7BD-4283-9195-03758FD188DF}" srcOrd="0" destOrd="0" presId="urn:diagrams.loki3.com/BracketList"/>
    <dgm:cxn modelId="{F63FC992-6CAF-45B3-968B-BD7504474532}" type="presParOf" srcId="{308F86B7-D941-4219-B1EF-1DF0218329AF}" destId="{E0FC9C9B-F53E-4A4C-8BA2-1529EE697C2B}" srcOrd="1" destOrd="0" presId="urn:diagrams.loki3.com/BracketList"/>
    <dgm:cxn modelId="{6090DC94-4CFC-43A6-A58A-9BD233B61B2F}" type="presParOf" srcId="{308F86B7-D941-4219-B1EF-1DF0218329AF}" destId="{F34B3F96-6075-42A2-BF96-870BB31D26EF}" srcOrd="2" destOrd="0" presId="urn:diagrams.loki3.com/BracketList"/>
    <dgm:cxn modelId="{82876250-B752-4026-A63B-3B9BD92C6D8E}" type="presParOf" srcId="{308F86B7-D941-4219-B1EF-1DF0218329AF}" destId="{0ECD8488-674C-4C0C-9655-2C89CD3ACFBA}" srcOrd="3" destOrd="0" presId="urn:diagrams.loki3.com/BracketList"/>
    <dgm:cxn modelId="{955D9669-37C5-4533-A44E-F18F0A3A3DD0}" type="presParOf" srcId="{60E112F2-CD0F-460D-921B-374A913F71ED}" destId="{6D7C8854-9976-4879-849A-A5B35E279A0D}" srcOrd="7" destOrd="0" presId="urn:diagrams.loki3.com/BracketList"/>
    <dgm:cxn modelId="{B16FC3DB-8AA6-4848-B0B8-148C5F170AD5}" type="presParOf" srcId="{60E112F2-CD0F-460D-921B-374A913F71ED}" destId="{24457AD7-6E8B-451C-9C78-107477CEA4C7}" srcOrd="8" destOrd="0" presId="urn:diagrams.loki3.com/BracketList"/>
    <dgm:cxn modelId="{95165981-69D0-4E69-AD9F-59874815A840}" type="presParOf" srcId="{24457AD7-6E8B-451C-9C78-107477CEA4C7}" destId="{A3CD7AA6-38F4-4A44-AF0C-AA53CC2A4238}" srcOrd="0" destOrd="0" presId="urn:diagrams.loki3.com/BracketList"/>
    <dgm:cxn modelId="{11AA92C3-F4D7-4EF9-A7E4-7945EE827E2B}" type="presParOf" srcId="{24457AD7-6E8B-451C-9C78-107477CEA4C7}" destId="{A0BBA243-A395-4F9E-9DD5-840A3D69F33B}" srcOrd="1" destOrd="0" presId="urn:diagrams.loki3.com/BracketList"/>
    <dgm:cxn modelId="{E5A6FFF4-B7CD-4573-AB8E-84E432B542DF}" type="presParOf" srcId="{24457AD7-6E8B-451C-9C78-107477CEA4C7}" destId="{9650CA60-831C-4DAE-AD3E-09277EDC17F8}" srcOrd="2" destOrd="0" presId="urn:diagrams.loki3.com/BracketList"/>
    <dgm:cxn modelId="{7B72F415-CA10-4EF5-A44F-90AD25DFF849}" type="presParOf" srcId="{24457AD7-6E8B-451C-9C78-107477CEA4C7}" destId="{66AAEBA6-B695-4691-8B00-49D1E4CA4B7B}" srcOrd="3" destOrd="0" presId="urn:diagrams.loki3.com/BracketList"/>
    <dgm:cxn modelId="{105B8E0E-6379-4115-8729-479041348177}" type="presParOf" srcId="{60E112F2-CD0F-460D-921B-374A913F71ED}" destId="{A5ED09AD-6A6C-4925-BEC7-2C2EBCB9A713}" srcOrd="9" destOrd="0" presId="urn:diagrams.loki3.com/BracketList"/>
    <dgm:cxn modelId="{6CE5265F-DCD0-461E-A1AF-239B11AD1B9F}" type="presParOf" srcId="{60E112F2-CD0F-460D-921B-374A913F71ED}" destId="{79C6ACE2-EAD3-40F1-A40D-7C08DA6A36F9}" srcOrd="10" destOrd="0" presId="urn:diagrams.loki3.com/BracketList"/>
    <dgm:cxn modelId="{5810EADB-366C-476A-8579-22DBF054F6AC}" type="presParOf" srcId="{79C6ACE2-EAD3-40F1-A40D-7C08DA6A36F9}" destId="{1165B149-41F8-4D08-BA1A-5857706E9CDE}" srcOrd="0" destOrd="0" presId="urn:diagrams.loki3.com/BracketList"/>
    <dgm:cxn modelId="{1AB84CE4-3CD1-4E6C-86F4-6C8C5BBF2987}" type="presParOf" srcId="{79C6ACE2-EAD3-40F1-A40D-7C08DA6A36F9}" destId="{0A6E157B-C627-4B14-8B26-59B96448430A}" srcOrd="1" destOrd="0" presId="urn:diagrams.loki3.com/BracketList"/>
    <dgm:cxn modelId="{A9C01D8C-1DF0-4307-8F7B-629E8F8A2F13}" type="presParOf" srcId="{79C6ACE2-EAD3-40F1-A40D-7C08DA6A36F9}" destId="{2D612181-86BE-42DF-B0C0-83C5CE48BEBE}" srcOrd="2" destOrd="0" presId="urn:diagrams.loki3.com/BracketList"/>
    <dgm:cxn modelId="{F99803F6-1EB1-4D31-BAFE-010A5BEB1E77}" type="presParOf" srcId="{79C6ACE2-EAD3-40F1-A40D-7C08DA6A36F9}" destId="{B846999F-8B22-4EFB-AAE0-C9D0AFC0A833}" srcOrd="3" destOrd="0" presId="urn:diagrams.loki3.com/Bracket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2.xml><?xml version="1.0" encoding="utf-8"?>
<dgm:dataModel xmlns:dgm="http://schemas.openxmlformats.org/drawingml/2006/diagram" xmlns:a="http://schemas.openxmlformats.org/drawingml/2006/main">
  <dgm:ptLst>
    <dgm:pt modelId="{3985AF7C-53D6-44AD-87E4-4EA338F4D7FA}" type="doc">
      <dgm:prSet loTypeId="urn:microsoft.com/office/officeart/2018/5/layout/IconLeafLabelList" loCatId="icon" qsTypeId="urn:microsoft.com/office/officeart/2005/8/quickstyle/simple1" qsCatId="simple" csTypeId="urn:microsoft.com/office/officeart/2005/8/colors/accent2_2" csCatId="accent2" phldr="1"/>
      <dgm:spPr/>
      <dgm:t>
        <a:bodyPr/>
        <a:lstStyle/>
        <a:p>
          <a:endParaRPr lang="en-US"/>
        </a:p>
      </dgm:t>
    </dgm:pt>
    <dgm:pt modelId="{C2A297BC-DA42-4860-A108-8EE79AEB2CA0}" type="parTrans" cxnId="{A14C51B9-ADFE-4194-9812-30AD497A7D8C}">
      <dgm:prSet/>
      <dgm:spPr/>
      <dgm:t>
        <a:bodyPr/>
        <a:lstStyle/>
        <a:p>
          <a:endParaRPr lang="en-US"/>
        </a:p>
      </dgm:t>
    </dgm:pt>
    <dgm:pt modelId="{EBD060C5-95F5-4EE7-A21D-4D675CDEDCC3}">
      <dgm:prSet custT="1"/>
      <dgm:spPr>
        <a:noFill/>
        <a:ln>
          <a:noFill/>
        </a:ln>
      </dgm:spPr>
      <dgm:t>
        <a:bodyPr/>
        <a:lstStyle/>
        <a:p>
          <a:pPr>
            <a:defRPr cap="all"/>
          </a:pPr>
          <a:r>
            <a:rPr lang="fr-CA" sz="1110" b="0" i="0" strike="noStrike" cap="all" spc="0" baseline="0">
              <a:solidFill>
                <a:srgbClr val="000000"/>
              </a:solidFill>
              <a:effectLst/>
              <a:latin typeface="Calibri"/>
              <a:ea typeface="Calibri"/>
              <a:cs typeface="Calibri"/>
            </a:rPr>
            <a:t>Perturber, confronter, soutenir – mais seulement iF approprié!</a:t>
          </a:r>
          <a:endParaRPr lang="en-US"/>
        </a:p>
      </dgm:t>
    </dgm:pt>
    <dgm:pt modelId="{08F2C995-22F9-446E-8812-A0D5B508C4C6}" type="sibTrans" cxnId="{A14C51B9-ADFE-4194-9812-30AD497A7D8C}">
      <dgm:prSet/>
      <dgm:spPr/>
      <dgm:t>
        <a:bodyPr/>
        <a:lstStyle/>
        <a:p>
          <a:endParaRPr lang="en-US"/>
        </a:p>
      </dgm:t>
    </dgm:pt>
    <dgm:pt modelId="{C06B86FE-9873-4154-8479-7797CFC38831}" type="parTrans" cxnId="{B0586F65-BCEA-44AD-A82A-F33566981F8C}">
      <dgm:prSet/>
      <dgm:spPr/>
      <dgm:t>
        <a:bodyPr/>
        <a:lstStyle/>
        <a:p>
          <a:endParaRPr lang="en-US"/>
        </a:p>
      </dgm:t>
    </dgm:pt>
    <dgm:pt modelId="{215514A5-DF66-4904-9406-77784F162B95}">
      <dgm:prSet custT="1"/>
      <dgm:spPr>
        <a:noFill/>
        <a:ln>
          <a:noFill/>
        </a:ln>
      </dgm:spPr>
      <dgm:t>
        <a:bodyPr/>
        <a:lstStyle/>
        <a:p>
          <a:pPr>
            <a:defRPr cap="all"/>
          </a:pPr>
          <a:r>
            <a:rPr lang="fr-CA" sz="1110" b="0" i="0" strike="noStrike" cap="all" spc="0" baseline="0">
              <a:solidFill>
                <a:srgbClr val="000000"/>
              </a:solidFill>
              <a:effectLst/>
              <a:latin typeface="Calibri"/>
              <a:ea typeface="Calibri"/>
              <a:cs typeface="Calibri"/>
            </a:rPr>
            <a:t>Nous voulons savoir si vous pensez que le comportement d’une personne est inapproprié ou illégal. </a:t>
          </a:r>
          <a:endParaRPr lang="en-US"/>
        </a:p>
      </dgm:t>
    </dgm:pt>
    <dgm:pt modelId="{B250ECC4-DD4B-44B9-9935-6E9734B98612}" type="sibTrans" cxnId="{B0586F65-BCEA-44AD-A82A-F33566981F8C}">
      <dgm:prSet/>
      <dgm:spPr/>
      <dgm:t>
        <a:bodyPr/>
        <a:lstStyle/>
        <a:p>
          <a:endParaRPr lang="en-US"/>
        </a:p>
      </dgm:t>
    </dgm:pt>
    <dgm:pt modelId="{56605AA0-B23C-41CB-A9E9-FB42C77D3F9B}" type="parTrans" cxnId="{7289C040-713B-478F-8F5C-F9656C1CF09A}">
      <dgm:prSet/>
      <dgm:spPr/>
      <dgm:t>
        <a:bodyPr/>
        <a:lstStyle/>
        <a:p>
          <a:endParaRPr lang="en-US"/>
        </a:p>
      </dgm:t>
    </dgm:pt>
    <dgm:pt modelId="{22C75CE3-3B87-4E45-A239-769E3391166C}">
      <dgm:prSet custT="1"/>
      <dgm:spPr>
        <a:noFill/>
        <a:ln>
          <a:noFill/>
        </a:ln>
      </dgm:spPr>
      <dgm:t>
        <a:bodyPr/>
        <a:lstStyle/>
        <a:p>
          <a:pPr>
            <a:defRPr cap="all"/>
          </a:pPr>
          <a:r>
            <a:rPr lang="fr-CA" sz="1110" b="0" i="0" strike="noStrike" cap="all" spc="0" baseline="0">
              <a:solidFill>
                <a:srgbClr val="000000"/>
              </a:solidFill>
              <a:effectLst/>
              <a:latin typeface="Calibri"/>
              <a:ea typeface="Calibri"/>
              <a:cs typeface="Calibri"/>
            </a:rPr>
            <a:t>Toutes les plaintes seront prises au sérieux, feront l’objet d’une enquête et feront l’objet d’une action, le cas échéant. </a:t>
          </a:r>
          <a:endParaRPr lang="en-US"/>
        </a:p>
      </dgm:t>
    </dgm:pt>
    <dgm:pt modelId="{873C7F80-16FF-4C2A-9AB6-7A5889C0339F}" type="sibTrans" cxnId="{7289C040-713B-478F-8F5C-F9656C1CF09A}">
      <dgm:prSet/>
      <dgm:spPr/>
      <dgm:t>
        <a:bodyPr/>
        <a:lstStyle/>
        <a:p>
          <a:endParaRPr lang="en-US"/>
        </a:p>
      </dgm:t>
    </dgm:pt>
    <dgm:pt modelId="{F47EF451-94B4-4BD6-A5AE-ADAECA63667A}" type="parTrans" cxnId="{D94C9BE6-91F2-45D0-96DB-16CE23D28086}">
      <dgm:prSet/>
      <dgm:spPr/>
      <dgm:t>
        <a:bodyPr/>
        <a:lstStyle/>
        <a:p>
          <a:endParaRPr lang="en-US"/>
        </a:p>
      </dgm:t>
    </dgm:pt>
    <dgm:pt modelId="{544412E3-BEF3-41AF-9D5A-7DA5FBAE64B4}">
      <dgm:prSet custT="1"/>
      <dgm:spPr>
        <a:noFill/>
        <a:ln>
          <a:noFill/>
        </a:ln>
      </dgm:spPr>
      <dgm:t>
        <a:bodyPr/>
        <a:lstStyle/>
        <a:p>
          <a:pPr>
            <a:defRPr cap="all"/>
          </a:pPr>
          <a:r>
            <a:rPr lang="fr-CA" sz="1110" b="0" i="0" strike="noStrike" cap="all" spc="0" baseline="0">
              <a:solidFill>
                <a:srgbClr val="000000"/>
              </a:solidFill>
              <a:effectLst/>
              <a:latin typeface="Calibri"/>
              <a:ea typeface="Calibri"/>
              <a:cs typeface="Calibri"/>
            </a:rPr>
            <a:t>Communiquez avec votre gestionnaire, les RH locales, l’équipe de conformité des tr/min ou la ligne d’assistance</a:t>
          </a:r>
          <a:endParaRPr lang="en-US"/>
        </a:p>
      </dgm:t>
    </dgm:pt>
    <dgm:pt modelId="{32D20FFA-0D8A-4FAF-9CB1-AE232A3FCBE7}" type="sibTrans" cxnId="{D94C9BE6-91F2-45D0-96DB-16CE23D28086}">
      <dgm:prSet/>
      <dgm:spPr/>
      <dgm:t>
        <a:bodyPr/>
        <a:lstStyle/>
        <a:p>
          <a:endParaRPr lang="en-US"/>
        </a:p>
      </dgm:t>
    </dgm:pt>
    <dgm:pt modelId="{F99DBA00-032E-4B6D-BCA8-3FF88387C013}" type="pres">
      <dgm:prSet presAssocID="{3985AF7C-53D6-44AD-87E4-4EA338F4D7FA}" presName="root" presStyleCnt="0">
        <dgm:presLayoutVars>
          <dgm:dir/>
          <dgm:resizeHandles val="exact"/>
        </dgm:presLayoutVars>
      </dgm:prSet>
      <dgm:spPr/>
    </dgm:pt>
    <dgm:pt modelId="{786B84CB-C00B-40AB-8D9F-DE78A427A091}" type="pres">
      <dgm:prSet presAssocID="{EBD060C5-95F5-4EE7-A21D-4D675CDEDCC3}" presName="compNode" presStyleCnt="0"/>
      <dgm:spPr/>
    </dgm:pt>
    <dgm:pt modelId="{073D0F38-1697-4DDF-87B5-31AB4FDDCA6E}" type="pres">
      <dgm:prSet presAssocID="{EBD060C5-95F5-4EE7-A21D-4D675CDEDCC3}" presName="iconBgRect" presStyleLbl="bgShp" presStyleIdx="0"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972CB9A9-E8F4-48A6-863C-3857BF4A1898}" type="pres">
      <dgm:prSet presAssocID="{EBD060C5-95F5-4EE7-A21D-4D675CDEDCC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0F2B5B2A-8E93-4FB1-A7B8-4DBAF9E36D1F}" type="pres">
      <dgm:prSet presAssocID="{EBD060C5-95F5-4EE7-A21D-4D675CDEDCC3}" presName="spaceRect" presStyleCnt="0"/>
      <dgm:spPr/>
    </dgm:pt>
    <dgm:pt modelId="{6AA18965-2D4D-4724-835A-2A765ACE07BF}" type="pres">
      <dgm:prSet presAssocID="{EBD060C5-95F5-4EE7-A21D-4D675CDEDCC3}" presName="textRect" presStyleLbl="revTx" presStyleIdx="0" presStyleCnt="4">
        <dgm:presLayoutVars>
          <dgm:chMax val="1"/>
          <dgm:chPref val="1"/>
        </dgm:presLayoutVars>
      </dgm:prSet>
      <dgm:spPr/>
    </dgm:pt>
    <dgm:pt modelId="{8760EC41-2AED-4DF9-BBCD-2EB65F816AD5}" type="pres">
      <dgm:prSet presAssocID="{08F2C995-22F9-446E-8812-A0D5B508C4C6}" presName="sibTrans" presStyleCnt="0"/>
      <dgm:spPr/>
    </dgm:pt>
    <dgm:pt modelId="{3622DCD7-14D2-4476-A1D7-9FC0F2DF9AEC}" type="pres">
      <dgm:prSet presAssocID="{215514A5-DF66-4904-9406-77784F162B95}" presName="compNode" presStyleCnt="0"/>
      <dgm:spPr/>
    </dgm:pt>
    <dgm:pt modelId="{71CADC7A-C1B0-44C3-93BB-21CE4C51B4F2}" type="pres">
      <dgm:prSet presAssocID="{215514A5-DF66-4904-9406-77784F162B95}" presName="iconBgRect" presStyleLbl="bgShp" presStyleIdx="1"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CE7A4B8A-9FB1-49BB-AD5F-E16F4D6B1202}" type="pres">
      <dgm:prSet presAssocID="{215514A5-DF66-4904-9406-77784F162B9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77223BB5-08AB-4699-B274-66F6273C5AEC}" type="pres">
      <dgm:prSet presAssocID="{215514A5-DF66-4904-9406-77784F162B95}" presName="spaceRect" presStyleCnt="0"/>
      <dgm:spPr/>
    </dgm:pt>
    <dgm:pt modelId="{6FF8B6D1-5618-4F35-9FB1-447D4C8D3EB4}" type="pres">
      <dgm:prSet presAssocID="{215514A5-DF66-4904-9406-77784F162B95}" presName="textRect" presStyleLbl="revTx" presStyleIdx="1" presStyleCnt="4">
        <dgm:presLayoutVars>
          <dgm:chMax val="1"/>
          <dgm:chPref val="1"/>
        </dgm:presLayoutVars>
      </dgm:prSet>
      <dgm:spPr/>
    </dgm:pt>
    <dgm:pt modelId="{EAB3F13C-5F23-491D-9F8A-D25748D3216F}" type="pres">
      <dgm:prSet presAssocID="{B250ECC4-DD4B-44B9-9935-6E9734B98612}" presName="sibTrans" presStyleCnt="0"/>
      <dgm:spPr/>
    </dgm:pt>
    <dgm:pt modelId="{0F7AB7E7-3384-4E1C-A41F-020CE1D72EA1}" type="pres">
      <dgm:prSet presAssocID="{22C75CE3-3B87-4E45-A239-769E3391166C}" presName="compNode" presStyleCnt="0"/>
      <dgm:spPr/>
    </dgm:pt>
    <dgm:pt modelId="{1FE7E204-545F-440C-8C97-4A51872D9726}" type="pres">
      <dgm:prSet presAssocID="{22C75CE3-3B87-4E45-A239-769E3391166C}" presName="iconBgRect" presStyleLbl="bgShp" presStyleIdx="2"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85FF4209-844A-4978-977D-D9B2596F75E9}" type="pres">
      <dgm:prSet presAssocID="{22C75CE3-3B87-4E45-A239-769E339116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Judge"/>
        </a:ext>
      </dgm:extLst>
    </dgm:pt>
    <dgm:pt modelId="{19232F93-B28C-4008-9D2C-5CC2B171F6BF}" type="pres">
      <dgm:prSet presAssocID="{22C75CE3-3B87-4E45-A239-769E3391166C}" presName="spaceRect" presStyleCnt="0"/>
      <dgm:spPr/>
    </dgm:pt>
    <dgm:pt modelId="{30BC5A38-EAF4-4B1E-9660-0ECB3613D90C}" type="pres">
      <dgm:prSet presAssocID="{22C75CE3-3B87-4E45-A239-769E3391166C}" presName="textRect" presStyleLbl="revTx" presStyleIdx="2" presStyleCnt="4">
        <dgm:presLayoutVars>
          <dgm:chMax val="1"/>
          <dgm:chPref val="1"/>
        </dgm:presLayoutVars>
      </dgm:prSet>
      <dgm:spPr/>
    </dgm:pt>
    <dgm:pt modelId="{E20E414B-C7F7-4B94-A0E0-F90A48E33FBB}" type="pres">
      <dgm:prSet presAssocID="{873C7F80-16FF-4C2A-9AB6-7A5889C0339F}" presName="sibTrans" presStyleCnt="0"/>
      <dgm:spPr/>
    </dgm:pt>
    <dgm:pt modelId="{4B26835B-4D7D-49AA-8750-6FD0C36A7C28}" type="pres">
      <dgm:prSet presAssocID="{544412E3-BEF3-41AF-9D5A-7DA5FBAE64B4}" presName="compNode" presStyleCnt="0"/>
      <dgm:spPr/>
    </dgm:pt>
    <dgm:pt modelId="{10143779-9C38-42BF-84D1-1850484485B4}" type="pres">
      <dgm:prSet presAssocID="{544412E3-BEF3-41AF-9D5A-7DA5FBAE64B4}" presName="iconBgRect" presStyleLbl="bgShp" presStyleIdx="3"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537D5008-931D-4678-B3D6-809AC5E131FA}" type="pres">
      <dgm:prSet presAssocID="{544412E3-BEF3-41AF-9D5A-7DA5FBAE64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Network"/>
        </a:ext>
      </dgm:extLst>
    </dgm:pt>
    <dgm:pt modelId="{3D256092-D4EE-4D98-9242-1FDD6ED656DA}" type="pres">
      <dgm:prSet presAssocID="{544412E3-BEF3-41AF-9D5A-7DA5FBAE64B4}" presName="spaceRect" presStyleCnt="0"/>
      <dgm:spPr/>
    </dgm:pt>
    <dgm:pt modelId="{6CB0CDB9-D0AE-470D-ABFC-DED3FE7A9B30}" type="pres">
      <dgm:prSet presAssocID="{544412E3-BEF3-41AF-9D5A-7DA5FBAE64B4}" presName="textRect" presStyleLbl="revTx" presStyleIdx="3" presStyleCnt="4">
        <dgm:presLayoutVars>
          <dgm:chMax val="1"/>
          <dgm:chPref val="1"/>
        </dgm:presLayoutVars>
      </dgm:prSet>
      <dgm:spPr/>
    </dgm:pt>
  </dgm:ptLst>
  <dgm:cxnLst>
    <dgm:cxn modelId="{283BB629-1874-48F5-96C3-3852610DDAF4}" type="presOf" srcId="{EBD060C5-95F5-4EE7-A21D-4D675CDEDCC3}" destId="{6AA18965-2D4D-4724-835A-2A765ACE07BF}" srcOrd="0" destOrd="0" presId="urn:microsoft.com/office/officeart/2018/5/layout/IconLeafLabelList"/>
    <dgm:cxn modelId="{7289C040-713B-478F-8F5C-F9656C1CF09A}" srcId="{3985AF7C-53D6-44AD-87E4-4EA338F4D7FA}" destId="{22C75CE3-3B87-4E45-A239-769E3391166C}" srcOrd="2" destOrd="0" parTransId="{56605AA0-B23C-41CB-A9E9-FB42C77D3F9B}" sibTransId="{873C7F80-16FF-4C2A-9AB6-7A5889C0339F}"/>
    <dgm:cxn modelId="{B0586F65-BCEA-44AD-A82A-F33566981F8C}" srcId="{3985AF7C-53D6-44AD-87E4-4EA338F4D7FA}" destId="{215514A5-DF66-4904-9406-77784F162B95}" srcOrd="1" destOrd="0" parTransId="{C06B86FE-9873-4154-8479-7797CFC38831}" sibTransId="{B250ECC4-DD4B-44B9-9935-6E9734B98612}"/>
    <dgm:cxn modelId="{0F81C667-194A-447A-9BC4-09B71E4DC6B8}" type="presOf" srcId="{22C75CE3-3B87-4E45-A239-769E3391166C}" destId="{30BC5A38-EAF4-4B1E-9660-0ECB3613D90C}" srcOrd="0" destOrd="0" presId="urn:microsoft.com/office/officeart/2018/5/layout/IconLeafLabelList"/>
    <dgm:cxn modelId="{F8B3FC59-3D27-463C-98EF-CADA5D95DE7E}" type="presOf" srcId="{215514A5-DF66-4904-9406-77784F162B95}" destId="{6FF8B6D1-5618-4F35-9FB1-447D4C8D3EB4}" srcOrd="0" destOrd="0" presId="urn:microsoft.com/office/officeart/2018/5/layout/IconLeafLabelList"/>
    <dgm:cxn modelId="{D269AF97-D5B2-4BD1-921F-FCA78FB3DFEF}" type="presOf" srcId="{544412E3-BEF3-41AF-9D5A-7DA5FBAE64B4}" destId="{6CB0CDB9-D0AE-470D-ABFC-DED3FE7A9B30}" srcOrd="0" destOrd="0" presId="urn:microsoft.com/office/officeart/2018/5/layout/IconLeafLabelList"/>
    <dgm:cxn modelId="{A14C51B9-ADFE-4194-9812-30AD497A7D8C}" srcId="{3985AF7C-53D6-44AD-87E4-4EA338F4D7FA}" destId="{EBD060C5-95F5-4EE7-A21D-4D675CDEDCC3}" srcOrd="0" destOrd="0" parTransId="{C2A297BC-DA42-4860-A108-8EE79AEB2CA0}" sibTransId="{08F2C995-22F9-446E-8812-A0D5B508C4C6}"/>
    <dgm:cxn modelId="{D94C9BE6-91F2-45D0-96DB-16CE23D28086}" srcId="{3985AF7C-53D6-44AD-87E4-4EA338F4D7FA}" destId="{544412E3-BEF3-41AF-9D5A-7DA5FBAE64B4}" srcOrd="3" destOrd="0" parTransId="{F47EF451-94B4-4BD6-A5AE-ADAECA63667A}" sibTransId="{32D20FFA-0D8A-4FAF-9CB1-AE232A3FCBE7}"/>
    <dgm:cxn modelId="{3406C4EA-9331-49F9-97E1-BC8804DBD641}" type="presOf" srcId="{3985AF7C-53D6-44AD-87E4-4EA338F4D7FA}" destId="{F99DBA00-032E-4B6D-BCA8-3FF88387C013}" srcOrd="0" destOrd="0" presId="urn:microsoft.com/office/officeart/2018/5/layout/IconLeafLabelList"/>
    <dgm:cxn modelId="{D4F7BEBC-6099-4C04-9BDD-8DFD97CF1BB4}" type="presParOf" srcId="{F99DBA00-032E-4B6D-BCA8-3FF88387C013}" destId="{786B84CB-C00B-40AB-8D9F-DE78A427A091}" srcOrd="0" destOrd="0" presId="urn:microsoft.com/office/officeart/2018/5/layout/IconLeafLabelList"/>
    <dgm:cxn modelId="{9B0A79D5-A59C-4272-8906-819AFB3D4E23}" type="presParOf" srcId="{786B84CB-C00B-40AB-8D9F-DE78A427A091}" destId="{073D0F38-1697-4DDF-87B5-31AB4FDDCA6E}" srcOrd="0" destOrd="0" presId="urn:microsoft.com/office/officeart/2018/5/layout/IconLeafLabelList"/>
    <dgm:cxn modelId="{A4E189CA-EF6D-4ED4-83EF-F07296ECD7BA}" type="presParOf" srcId="{786B84CB-C00B-40AB-8D9F-DE78A427A091}" destId="{972CB9A9-E8F4-48A6-863C-3857BF4A1898}" srcOrd="1" destOrd="0" presId="urn:microsoft.com/office/officeart/2018/5/layout/IconLeafLabelList"/>
    <dgm:cxn modelId="{029E1C91-8030-4F71-9F52-4AE26D5672FC}" type="presParOf" srcId="{786B84CB-C00B-40AB-8D9F-DE78A427A091}" destId="{0F2B5B2A-8E93-4FB1-A7B8-4DBAF9E36D1F}" srcOrd="2" destOrd="0" presId="urn:microsoft.com/office/officeart/2018/5/layout/IconLeafLabelList"/>
    <dgm:cxn modelId="{FEE7777C-E61F-44F9-89F0-4F753B8CD533}" type="presParOf" srcId="{786B84CB-C00B-40AB-8D9F-DE78A427A091}" destId="{6AA18965-2D4D-4724-835A-2A765ACE07BF}" srcOrd="3" destOrd="0" presId="urn:microsoft.com/office/officeart/2018/5/layout/IconLeafLabelList"/>
    <dgm:cxn modelId="{39C00502-F05E-4E34-B60D-7EB3306B474F}" type="presParOf" srcId="{F99DBA00-032E-4B6D-BCA8-3FF88387C013}" destId="{8760EC41-2AED-4DF9-BBCD-2EB65F816AD5}" srcOrd="1" destOrd="0" presId="urn:microsoft.com/office/officeart/2018/5/layout/IconLeafLabelList"/>
    <dgm:cxn modelId="{ED3CE186-DF58-4B1F-AA58-A43964043E96}" type="presParOf" srcId="{F99DBA00-032E-4B6D-BCA8-3FF88387C013}" destId="{3622DCD7-14D2-4476-A1D7-9FC0F2DF9AEC}" srcOrd="2" destOrd="0" presId="urn:microsoft.com/office/officeart/2018/5/layout/IconLeafLabelList"/>
    <dgm:cxn modelId="{7F33A8EB-7648-4A27-B63B-63FF24BCD5FC}" type="presParOf" srcId="{3622DCD7-14D2-4476-A1D7-9FC0F2DF9AEC}" destId="{71CADC7A-C1B0-44C3-93BB-21CE4C51B4F2}" srcOrd="0" destOrd="0" presId="urn:microsoft.com/office/officeart/2018/5/layout/IconLeafLabelList"/>
    <dgm:cxn modelId="{C7C72B10-19C0-4D1C-92C7-44500623522E}" type="presParOf" srcId="{3622DCD7-14D2-4476-A1D7-9FC0F2DF9AEC}" destId="{CE7A4B8A-9FB1-49BB-AD5F-E16F4D6B1202}" srcOrd="1" destOrd="0" presId="urn:microsoft.com/office/officeart/2018/5/layout/IconLeafLabelList"/>
    <dgm:cxn modelId="{2D39B640-6D04-4047-9394-2FC66DC9022C}" type="presParOf" srcId="{3622DCD7-14D2-4476-A1D7-9FC0F2DF9AEC}" destId="{77223BB5-08AB-4699-B274-66F6273C5AEC}" srcOrd="2" destOrd="0" presId="urn:microsoft.com/office/officeart/2018/5/layout/IconLeafLabelList"/>
    <dgm:cxn modelId="{54B6360C-DF4C-4605-AAF9-2EEC83AA0AC4}" type="presParOf" srcId="{3622DCD7-14D2-4476-A1D7-9FC0F2DF9AEC}" destId="{6FF8B6D1-5618-4F35-9FB1-447D4C8D3EB4}" srcOrd="3" destOrd="0" presId="urn:microsoft.com/office/officeart/2018/5/layout/IconLeafLabelList"/>
    <dgm:cxn modelId="{E456405A-F067-403A-8BE9-8B6818617F77}" type="presParOf" srcId="{F99DBA00-032E-4B6D-BCA8-3FF88387C013}" destId="{EAB3F13C-5F23-491D-9F8A-D25748D3216F}" srcOrd="3" destOrd="0" presId="urn:microsoft.com/office/officeart/2018/5/layout/IconLeafLabelList"/>
    <dgm:cxn modelId="{C7D9390D-6E87-42CD-BFF2-F1B61ACA8E19}" type="presParOf" srcId="{F99DBA00-032E-4B6D-BCA8-3FF88387C013}" destId="{0F7AB7E7-3384-4E1C-A41F-020CE1D72EA1}" srcOrd="4" destOrd="0" presId="urn:microsoft.com/office/officeart/2018/5/layout/IconLeafLabelList"/>
    <dgm:cxn modelId="{32CD8696-935E-45E5-8BBA-715F0ADBE10C}" type="presParOf" srcId="{0F7AB7E7-3384-4E1C-A41F-020CE1D72EA1}" destId="{1FE7E204-545F-440C-8C97-4A51872D9726}" srcOrd="0" destOrd="0" presId="urn:microsoft.com/office/officeart/2018/5/layout/IconLeafLabelList"/>
    <dgm:cxn modelId="{37DF735D-2626-4771-AD15-388BFD22E943}" type="presParOf" srcId="{0F7AB7E7-3384-4E1C-A41F-020CE1D72EA1}" destId="{85FF4209-844A-4978-977D-D9B2596F75E9}" srcOrd="1" destOrd="0" presId="urn:microsoft.com/office/officeart/2018/5/layout/IconLeafLabelList"/>
    <dgm:cxn modelId="{A53414B9-F645-49E4-86A4-DEF1C833F06B}" type="presParOf" srcId="{0F7AB7E7-3384-4E1C-A41F-020CE1D72EA1}" destId="{19232F93-B28C-4008-9D2C-5CC2B171F6BF}" srcOrd="2" destOrd="0" presId="urn:microsoft.com/office/officeart/2018/5/layout/IconLeafLabelList"/>
    <dgm:cxn modelId="{63958870-73CD-4722-947A-8DC5DC19CFAA}" type="presParOf" srcId="{0F7AB7E7-3384-4E1C-A41F-020CE1D72EA1}" destId="{30BC5A38-EAF4-4B1E-9660-0ECB3613D90C}" srcOrd="3" destOrd="0" presId="urn:microsoft.com/office/officeart/2018/5/layout/IconLeafLabelList"/>
    <dgm:cxn modelId="{42955653-210A-4C0C-B96A-56A090AB1DA4}" type="presParOf" srcId="{F99DBA00-032E-4B6D-BCA8-3FF88387C013}" destId="{E20E414B-C7F7-4B94-A0E0-F90A48E33FBB}" srcOrd="5" destOrd="0" presId="urn:microsoft.com/office/officeart/2018/5/layout/IconLeafLabelList"/>
    <dgm:cxn modelId="{30160EB5-608C-4BA0-8472-CBC98A6D975E}" type="presParOf" srcId="{F99DBA00-032E-4B6D-BCA8-3FF88387C013}" destId="{4B26835B-4D7D-49AA-8750-6FD0C36A7C28}" srcOrd="6" destOrd="0" presId="urn:microsoft.com/office/officeart/2018/5/layout/IconLeafLabelList"/>
    <dgm:cxn modelId="{C2D72CCB-BF1A-4949-96B4-A0D32581C3F7}" type="presParOf" srcId="{4B26835B-4D7D-49AA-8750-6FD0C36A7C28}" destId="{10143779-9C38-42BF-84D1-1850484485B4}" srcOrd="0" destOrd="0" presId="urn:microsoft.com/office/officeart/2018/5/layout/IconLeafLabelList"/>
    <dgm:cxn modelId="{39CB2C03-AD81-46FF-B9D9-4D1934F4B4B0}" type="presParOf" srcId="{4B26835B-4D7D-49AA-8750-6FD0C36A7C28}" destId="{537D5008-931D-4678-B3D6-809AC5E131FA}" srcOrd="1" destOrd="0" presId="urn:microsoft.com/office/officeart/2018/5/layout/IconLeafLabelList"/>
    <dgm:cxn modelId="{7C1772C2-66B6-467E-A602-C007A3A24820}" type="presParOf" srcId="{4B26835B-4D7D-49AA-8750-6FD0C36A7C28}" destId="{3D256092-D4EE-4D98-9242-1FDD6ED656DA}" srcOrd="2" destOrd="0" presId="urn:microsoft.com/office/officeart/2018/5/layout/IconLeafLabelList"/>
    <dgm:cxn modelId="{8826B931-7DB8-49F0-AB6C-88085FAE4B03}" type="presParOf" srcId="{4B26835B-4D7D-49AA-8750-6FD0C36A7C28}" destId="{6CB0CDB9-D0AE-470D-ABFC-DED3FE7A9B30}"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3.xml><?xml version="1.0" encoding="utf-8"?>
<dgm:dataModel xmlns:dgm="http://schemas.openxmlformats.org/drawingml/2006/diagram" xmlns:a="http://schemas.openxmlformats.org/drawingml/2006/main">
  <dgm:ptLst>
    <dgm:pt modelId="{847EA9A9-2A7E-4FE6-BE29-8DF151ECBC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397E0D1-58FC-466E-A76A-0F9A90D32313}" type="parTrans" cxnId="{36C513ED-DBE1-412E-A9ED-FDE58F99B160}">
      <dgm:prSet/>
      <dgm:spPr/>
      <dgm:t>
        <a:bodyPr/>
        <a:lstStyle/>
        <a:p>
          <a:endParaRPr lang="en-US"/>
        </a:p>
      </dgm:t>
    </dgm:pt>
    <dgm:pt modelId="{79707194-1D02-4749-851A-78251A8D6A8E}">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Congédiement</a:t>
          </a:r>
          <a:endParaRPr lang="en-US"/>
        </a:p>
      </dgm:t>
    </dgm:pt>
    <dgm:pt modelId="{CE8F1689-E460-49B6-A0B4-2F42C7441D1E}" type="sibTrans" cxnId="{36C513ED-DBE1-412E-A9ED-FDE58F99B160}">
      <dgm:prSet/>
      <dgm:spPr/>
      <dgm:t>
        <a:bodyPr/>
        <a:lstStyle/>
        <a:p>
          <a:endParaRPr lang="en-US"/>
        </a:p>
      </dgm:t>
    </dgm:pt>
    <dgm:pt modelId="{AC4E4FE5-E6E9-4735-AABB-0C6819A38BD3}" type="parTrans" cxnId="{1BAECFD4-5CCF-48F7-8AD9-D176C5BB63DD}">
      <dgm:prSet/>
      <dgm:spPr/>
      <dgm:t>
        <a:bodyPr/>
        <a:lstStyle/>
        <a:p>
          <a:endParaRPr lang="en-US"/>
        </a:p>
      </dgm:t>
    </dgm:pt>
    <dgm:pt modelId="{75B6AE6A-9B0F-4ADC-B232-83EB04025669}">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Rétrogradation</a:t>
          </a:r>
          <a:endParaRPr lang="en-US"/>
        </a:p>
      </dgm:t>
    </dgm:pt>
    <dgm:pt modelId="{55B0ED60-47A9-4C9D-BED3-2A9BE70A9BE5}" type="sibTrans" cxnId="{1BAECFD4-5CCF-48F7-8AD9-D176C5BB63DD}">
      <dgm:prSet/>
      <dgm:spPr/>
      <dgm:t>
        <a:bodyPr/>
        <a:lstStyle/>
        <a:p>
          <a:endParaRPr lang="en-US"/>
        </a:p>
      </dgm:t>
    </dgm:pt>
    <dgm:pt modelId="{4F78A490-1C23-4BBF-8016-997EFAAE478F}" type="parTrans" cxnId="{820355F3-D0C8-48BA-8092-1E55589D93B9}">
      <dgm:prSet/>
      <dgm:spPr/>
      <dgm:t>
        <a:bodyPr/>
        <a:lstStyle/>
        <a:p>
          <a:endParaRPr lang="en-US"/>
        </a:p>
      </dgm:t>
    </dgm:pt>
    <dgm:pt modelId="{0C3E5329-EB5E-4889-9701-0849A8CD9D82}">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Transfert</a:t>
          </a:r>
          <a:endParaRPr lang="en-US"/>
        </a:p>
      </dgm:t>
    </dgm:pt>
    <dgm:pt modelId="{1E1AEB77-E215-409E-B983-A154334C1190}" type="sibTrans" cxnId="{820355F3-D0C8-48BA-8092-1E55589D93B9}">
      <dgm:prSet/>
      <dgm:spPr/>
      <dgm:t>
        <a:bodyPr/>
        <a:lstStyle/>
        <a:p>
          <a:endParaRPr lang="en-US"/>
        </a:p>
      </dgm:t>
    </dgm:pt>
    <dgm:pt modelId="{ADCB2420-3E8D-4D10-815F-BFB534DBDEEC}" type="parTrans" cxnId="{5D3E776B-15F6-4B29-B4E7-7724B2AF7A0B}">
      <dgm:prSet/>
      <dgm:spPr/>
      <dgm:t>
        <a:bodyPr/>
        <a:lstStyle/>
        <a:p>
          <a:endParaRPr lang="en-US"/>
        </a:p>
      </dgm:t>
    </dgm:pt>
    <dgm:pt modelId="{49DA00EC-20E3-4959-92DB-5FE0DB4E1078}">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Affectations ou horaire de travail moins favorables</a:t>
          </a:r>
          <a:endParaRPr lang="en-US"/>
        </a:p>
      </dgm:t>
    </dgm:pt>
    <dgm:pt modelId="{1407D1F4-DC74-4D0C-B033-11CE032EE418}" type="sibTrans" cxnId="{5D3E776B-15F6-4B29-B4E7-7724B2AF7A0B}">
      <dgm:prSet/>
      <dgm:spPr/>
      <dgm:t>
        <a:bodyPr/>
        <a:lstStyle/>
        <a:p>
          <a:endParaRPr lang="en-US"/>
        </a:p>
      </dgm:t>
    </dgm:pt>
    <dgm:pt modelId="{5ADD28B4-A80F-4093-AC94-16D6D563B90B}" type="parTrans" cxnId="{F8146D56-C77C-4AA4-902F-AEF88903F70A}">
      <dgm:prSet/>
      <dgm:spPr/>
      <dgm:t>
        <a:bodyPr/>
        <a:lstStyle/>
        <a:p>
          <a:endParaRPr lang="en-US"/>
        </a:p>
      </dgm:t>
    </dgm:pt>
    <dgm:pt modelId="{1EB4BC62-DA52-4EFC-9CA8-418C08D2348D}">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Fuite de dossiers personnels pour dénigrer ou discréditer une victime ou un témoin de discrimination</a:t>
          </a:r>
          <a:endParaRPr lang="en-US"/>
        </a:p>
      </dgm:t>
    </dgm:pt>
    <dgm:pt modelId="{C9EFA232-B22D-4D18-BF81-0244D2085864}" type="sibTrans" cxnId="{F8146D56-C77C-4AA4-902F-AEF88903F70A}">
      <dgm:prSet/>
      <dgm:spPr/>
      <dgm:t>
        <a:bodyPr/>
        <a:lstStyle/>
        <a:p>
          <a:endParaRPr lang="en-US"/>
        </a:p>
      </dgm:t>
    </dgm:pt>
    <dgm:pt modelId="{2BC36E68-80C0-47FE-9E60-1D6E80AC1868}" type="parTrans" cxnId="{9913A02B-FC31-4EF9-9E49-408AB8D59C3E}">
      <dgm:prSet/>
      <dgm:spPr/>
      <dgm:t>
        <a:bodyPr/>
        <a:lstStyle/>
        <a:p>
          <a:endParaRPr lang="en-US"/>
        </a:p>
      </dgm:t>
    </dgm:pt>
    <dgm:pt modelId="{231A5E3E-BEAC-4643-AEC0-494E55F94A3B}">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Être échappé ou ostracisé par des collègues</a:t>
          </a:r>
          <a:endParaRPr lang="en-US"/>
        </a:p>
      </dgm:t>
    </dgm:pt>
    <dgm:pt modelId="{8F061D4F-67C0-462D-98B5-6197DF537B08}" type="sibTrans" cxnId="{9913A02B-FC31-4EF9-9E49-408AB8D59C3E}">
      <dgm:prSet/>
      <dgm:spPr/>
      <dgm:t>
        <a:bodyPr/>
        <a:lstStyle/>
        <a:p>
          <a:endParaRPr lang="en-US"/>
        </a:p>
      </dgm:t>
    </dgm:pt>
    <dgm:pt modelId="{8CE7926D-684E-4318-8AD1-74B82DCD2295}" type="parTrans" cxnId="{F7EB5931-777D-4551-B23B-696EE9456499}">
      <dgm:prSet/>
      <dgm:spPr/>
      <dgm:t>
        <a:bodyPr/>
        <a:lstStyle/>
        <a:p>
          <a:endParaRPr lang="en-US"/>
        </a:p>
      </dgm:t>
    </dgm:pt>
    <dgm:pt modelId="{66759DA8-7923-4702-8294-94150FFE7905}">
      <dgm:prSet custT="1"/>
      <dgm:spPr>
        <a:noFill/>
        <a:ln>
          <a:noFill/>
        </a:ln>
      </dgm:spPr>
      <dgm:t>
        <a:bodyPr/>
        <a:lstStyle/>
        <a:p>
          <a:pPr>
            <a:lnSpc>
              <a:spcPct val="100000"/>
            </a:lnSpc>
          </a:pPr>
          <a:r>
            <a:rPr lang="fr-CA" sz="1600" b="0" i="0" strike="noStrike" cap="none" spc="0" baseline="0">
              <a:solidFill>
                <a:srgbClr val="000000"/>
              </a:solidFill>
              <a:effectLst/>
              <a:latin typeface="Calibri"/>
              <a:ea typeface="Calibri"/>
              <a:cs typeface="Calibri"/>
            </a:rPr>
            <a:t>Être saboté par des collègues</a:t>
          </a:r>
          <a:endParaRPr lang="en-US"/>
        </a:p>
      </dgm:t>
    </dgm:pt>
    <dgm:pt modelId="{94499F2B-AD42-41F6-B221-73712FCD1BC6}" type="sibTrans" cxnId="{F7EB5931-777D-4551-B23B-696EE9456499}">
      <dgm:prSet/>
      <dgm:spPr/>
      <dgm:t>
        <a:bodyPr/>
        <a:lstStyle/>
        <a:p>
          <a:endParaRPr lang="en-US"/>
        </a:p>
      </dgm:t>
    </dgm:pt>
    <dgm:pt modelId="{41503E0F-AB6D-4568-9453-ABA59B82A4CC}" type="pres">
      <dgm:prSet presAssocID="{847EA9A9-2A7E-4FE6-BE29-8DF151ECBC7E}" presName="root" presStyleCnt="0">
        <dgm:presLayoutVars>
          <dgm:dir/>
          <dgm:resizeHandles val="exact"/>
        </dgm:presLayoutVars>
      </dgm:prSet>
      <dgm:spPr/>
    </dgm:pt>
    <dgm:pt modelId="{818C0BB3-442E-42EB-B956-37DA187B65FF}" type="pres">
      <dgm:prSet presAssocID="{79707194-1D02-4749-851A-78251A8D6A8E}" presName="compNode" presStyleCnt="0"/>
      <dgm:spPr/>
    </dgm:pt>
    <dgm:pt modelId="{52A512D9-B40D-47F9-A846-C726F51B1EC6}" type="pres">
      <dgm:prSet presAssocID="{79707194-1D02-4749-851A-78251A8D6A8E}" presName="bgRect" presStyleLbl="bgShp" presStyleIdx="0" presStyleCnt="7"/>
      <dgm:spPr>
        <a:solidFill>
          <a:schemeClr val="accent1">
            <a:tint val="40000"/>
            <a:hueOff val="0"/>
            <a:satOff val="0"/>
            <a:lumOff val="0"/>
            <a:alphaOff val="0"/>
          </a:schemeClr>
        </a:solidFill>
        <a:ln>
          <a:noFill/>
        </a:ln>
      </dgm:spPr>
    </dgm:pt>
    <dgm:pt modelId="{CA508474-D63E-4A16-9167-594C791466C4}" type="pres">
      <dgm:prSet presAssocID="{79707194-1D02-4749-851A-78251A8D6A8E}"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vel"/>
        </a:ext>
      </dgm:extLst>
    </dgm:pt>
    <dgm:pt modelId="{58DC08D3-6ECA-4AC7-A6C4-0D833EF8AF69}" type="pres">
      <dgm:prSet presAssocID="{79707194-1D02-4749-851A-78251A8D6A8E}" presName="spaceRect" presStyleCnt="0"/>
      <dgm:spPr/>
    </dgm:pt>
    <dgm:pt modelId="{DCAD54F1-4A2A-422E-A86B-590182CAB8AA}" type="pres">
      <dgm:prSet presAssocID="{79707194-1D02-4749-851A-78251A8D6A8E}" presName="parTx" presStyleLbl="revTx" presStyleIdx="0" presStyleCnt="7">
        <dgm:presLayoutVars>
          <dgm:chMax val="0"/>
          <dgm:chPref val="0"/>
        </dgm:presLayoutVars>
      </dgm:prSet>
      <dgm:spPr/>
    </dgm:pt>
    <dgm:pt modelId="{446014D1-B799-4496-B82A-4DBBC3131499}" type="pres">
      <dgm:prSet presAssocID="{CE8F1689-E460-49B6-A0B4-2F42C7441D1E}" presName="sibTrans" presStyleCnt="0"/>
      <dgm:spPr/>
    </dgm:pt>
    <dgm:pt modelId="{4FFB4288-2951-440D-A775-60785C73E6AA}" type="pres">
      <dgm:prSet presAssocID="{75B6AE6A-9B0F-4ADC-B232-83EB04025669}" presName="compNode" presStyleCnt="0"/>
      <dgm:spPr/>
    </dgm:pt>
    <dgm:pt modelId="{02EE004D-26FC-47D1-8269-69D20901CA23}" type="pres">
      <dgm:prSet presAssocID="{75B6AE6A-9B0F-4ADC-B232-83EB04025669}" presName="bgRect" presStyleLbl="bgShp" presStyleIdx="1" presStyleCnt="7"/>
      <dgm:spPr>
        <a:solidFill>
          <a:schemeClr val="accent1">
            <a:tint val="40000"/>
            <a:hueOff val="0"/>
            <a:satOff val="0"/>
            <a:lumOff val="0"/>
            <a:alphaOff val="0"/>
          </a:schemeClr>
        </a:solidFill>
        <a:ln>
          <a:noFill/>
        </a:ln>
      </dgm:spPr>
    </dgm:pt>
    <dgm:pt modelId="{9E412361-0DD8-455E-ABDC-E515BF65EB9D}" type="pres">
      <dgm:prSet presAssocID="{75B6AE6A-9B0F-4ADC-B232-83EB04025669}"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
        </a:ext>
      </dgm:extLst>
    </dgm:pt>
    <dgm:pt modelId="{C21354FB-AD36-42B0-93BE-5F83ED150F04}" type="pres">
      <dgm:prSet presAssocID="{75B6AE6A-9B0F-4ADC-B232-83EB04025669}" presName="spaceRect" presStyleCnt="0"/>
      <dgm:spPr/>
    </dgm:pt>
    <dgm:pt modelId="{A97B8EB0-C577-4054-84C1-818EA38BF5B9}" type="pres">
      <dgm:prSet presAssocID="{75B6AE6A-9B0F-4ADC-B232-83EB04025669}" presName="parTx" presStyleLbl="revTx" presStyleIdx="1" presStyleCnt="7">
        <dgm:presLayoutVars>
          <dgm:chMax val="0"/>
          <dgm:chPref val="0"/>
        </dgm:presLayoutVars>
      </dgm:prSet>
      <dgm:spPr/>
    </dgm:pt>
    <dgm:pt modelId="{9D06C7C4-FB12-4400-9E9F-3C637653350D}" type="pres">
      <dgm:prSet presAssocID="{55B0ED60-47A9-4C9D-BED3-2A9BE70A9BE5}" presName="sibTrans" presStyleCnt="0"/>
      <dgm:spPr/>
    </dgm:pt>
    <dgm:pt modelId="{40ADC1F3-7B7B-415D-B1A9-2DD20BC18B22}" type="pres">
      <dgm:prSet presAssocID="{0C3E5329-EB5E-4889-9701-0849A8CD9D82}" presName="compNode" presStyleCnt="0"/>
      <dgm:spPr/>
    </dgm:pt>
    <dgm:pt modelId="{3951A61D-F069-4616-989D-20A828000FE1}" type="pres">
      <dgm:prSet presAssocID="{0C3E5329-EB5E-4889-9701-0849A8CD9D82}" presName="bgRect" presStyleLbl="bgShp" presStyleIdx="2" presStyleCnt="7"/>
      <dgm:spPr>
        <a:solidFill>
          <a:schemeClr val="accent1">
            <a:tint val="40000"/>
            <a:hueOff val="0"/>
            <a:satOff val="0"/>
            <a:lumOff val="0"/>
            <a:alphaOff val="0"/>
          </a:schemeClr>
        </a:solidFill>
        <a:ln>
          <a:noFill/>
        </a:ln>
      </dgm:spPr>
    </dgm:pt>
    <dgm:pt modelId="{B2C44930-8854-438D-90B1-22C51B82B008}" type="pres">
      <dgm:prSet presAssocID="{0C3E5329-EB5E-4889-9701-0849A8CD9D82}"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ransfer"/>
        </a:ext>
      </dgm:extLst>
    </dgm:pt>
    <dgm:pt modelId="{BFF2EDA0-9815-4D23-9634-A8908693BE85}" type="pres">
      <dgm:prSet presAssocID="{0C3E5329-EB5E-4889-9701-0849A8CD9D82}" presName="spaceRect" presStyleCnt="0"/>
      <dgm:spPr/>
    </dgm:pt>
    <dgm:pt modelId="{635091B8-29C0-4ABE-8DEC-334A61052E0C}" type="pres">
      <dgm:prSet presAssocID="{0C3E5329-EB5E-4889-9701-0849A8CD9D82}" presName="parTx" presStyleLbl="revTx" presStyleIdx="2" presStyleCnt="7">
        <dgm:presLayoutVars>
          <dgm:chMax val="0"/>
          <dgm:chPref val="0"/>
        </dgm:presLayoutVars>
      </dgm:prSet>
      <dgm:spPr/>
    </dgm:pt>
    <dgm:pt modelId="{935AB0F7-C73A-4D15-9A92-396AE39B2FBF}" type="pres">
      <dgm:prSet presAssocID="{1E1AEB77-E215-409E-B983-A154334C1190}" presName="sibTrans" presStyleCnt="0"/>
      <dgm:spPr/>
    </dgm:pt>
    <dgm:pt modelId="{5668A616-B452-4CEF-8524-26589C63C0B2}" type="pres">
      <dgm:prSet presAssocID="{49DA00EC-20E3-4959-92DB-5FE0DB4E1078}" presName="compNode" presStyleCnt="0"/>
      <dgm:spPr/>
    </dgm:pt>
    <dgm:pt modelId="{2B9FBFC2-2DA2-4537-8E9D-0102188BB8DA}" type="pres">
      <dgm:prSet presAssocID="{49DA00EC-20E3-4959-92DB-5FE0DB4E1078}" presName="bgRect" presStyleLbl="bgShp" presStyleIdx="3" presStyleCnt="7"/>
      <dgm:spPr>
        <a:solidFill>
          <a:schemeClr val="accent1">
            <a:tint val="40000"/>
            <a:hueOff val="0"/>
            <a:satOff val="0"/>
            <a:lumOff val="0"/>
            <a:alphaOff val="0"/>
          </a:schemeClr>
        </a:solidFill>
        <a:ln>
          <a:noFill/>
        </a:ln>
      </dgm:spPr>
    </dgm:pt>
    <dgm:pt modelId="{098824A6-FCA5-4A1B-9C93-02EBF6CE40C2}" type="pres">
      <dgm:prSet presAssocID="{49DA00EC-20E3-4959-92DB-5FE0DB4E107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opwatch"/>
        </a:ext>
      </dgm:extLst>
    </dgm:pt>
    <dgm:pt modelId="{73A4532D-A95C-4D67-8544-DF90B65AF08C}" type="pres">
      <dgm:prSet presAssocID="{49DA00EC-20E3-4959-92DB-5FE0DB4E1078}" presName="spaceRect" presStyleCnt="0"/>
      <dgm:spPr/>
    </dgm:pt>
    <dgm:pt modelId="{CDB89971-F98F-4B5E-A3E6-D8B427874E72}" type="pres">
      <dgm:prSet presAssocID="{49DA00EC-20E3-4959-92DB-5FE0DB4E1078}" presName="parTx" presStyleLbl="revTx" presStyleIdx="3" presStyleCnt="7">
        <dgm:presLayoutVars>
          <dgm:chMax val="0"/>
          <dgm:chPref val="0"/>
        </dgm:presLayoutVars>
      </dgm:prSet>
      <dgm:spPr/>
    </dgm:pt>
    <dgm:pt modelId="{C8798EC8-CDEE-4D35-BD8F-FAC6BDEAA192}" type="pres">
      <dgm:prSet presAssocID="{1407D1F4-DC74-4D0C-B033-11CE032EE418}" presName="sibTrans" presStyleCnt="0"/>
      <dgm:spPr/>
    </dgm:pt>
    <dgm:pt modelId="{4729E7F1-7AFB-47B7-90AD-2020F44037FA}" type="pres">
      <dgm:prSet presAssocID="{1EB4BC62-DA52-4EFC-9CA8-418C08D2348D}" presName="compNode" presStyleCnt="0"/>
      <dgm:spPr/>
    </dgm:pt>
    <dgm:pt modelId="{5A0D2530-66A5-456F-BF2D-18FEAD527C88}" type="pres">
      <dgm:prSet presAssocID="{1EB4BC62-DA52-4EFC-9CA8-418C08D2348D}" presName="bgRect" presStyleLbl="bgShp" presStyleIdx="4" presStyleCnt="7"/>
      <dgm:spPr>
        <a:solidFill>
          <a:schemeClr val="accent1">
            <a:tint val="40000"/>
            <a:hueOff val="0"/>
            <a:satOff val="0"/>
            <a:lumOff val="0"/>
            <a:alphaOff val="0"/>
          </a:schemeClr>
        </a:solidFill>
        <a:ln>
          <a:noFill/>
        </a:ln>
      </dgm:spPr>
    </dgm:pt>
    <dgm:pt modelId="{D114D602-97C4-4F4E-85C6-8EC0B97D38A5}" type="pres">
      <dgm:prSet presAssocID="{1EB4BC62-DA52-4EFC-9CA8-418C08D2348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Judge"/>
        </a:ext>
      </dgm:extLst>
    </dgm:pt>
    <dgm:pt modelId="{F68ED1C6-C795-4016-B7C9-7ECEB42F8720}" type="pres">
      <dgm:prSet presAssocID="{1EB4BC62-DA52-4EFC-9CA8-418C08D2348D}" presName="spaceRect" presStyleCnt="0"/>
      <dgm:spPr/>
    </dgm:pt>
    <dgm:pt modelId="{01E7E8D9-EBEA-4B3C-B1F3-7D20DA711A7B}" type="pres">
      <dgm:prSet presAssocID="{1EB4BC62-DA52-4EFC-9CA8-418C08D2348D}" presName="parTx" presStyleLbl="revTx" presStyleIdx="4" presStyleCnt="7">
        <dgm:presLayoutVars>
          <dgm:chMax val="0"/>
          <dgm:chPref val="0"/>
        </dgm:presLayoutVars>
      </dgm:prSet>
      <dgm:spPr/>
    </dgm:pt>
    <dgm:pt modelId="{6D0477B7-4235-4AC0-8113-107D722676B1}" type="pres">
      <dgm:prSet presAssocID="{C9EFA232-B22D-4D18-BF81-0244D2085864}" presName="sibTrans" presStyleCnt="0"/>
      <dgm:spPr/>
    </dgm:pt>
    <dgm:pt modelId="{9953D956-CD16-4C82-BDAF-7032F64A9D82}" type="pres">
      <dgm:prSet presAssocID="{231A5E3E-BEAC-4643-AEC0-494E55F94A3B}" presName="compNode" presStyleCnt="0"/>
      <dgm:spPr/>
    </dgm:pt>
    <dgm:pt modelId="{82650058-36C7-4EF2-A510-6B2A3BC56CBA}" type="pres">
      <dgm:prSet presAssocID="{231A5E3E-BEAC-4643-AEC0-494E55F94A3B}" presName="bgRect" presStyleLbl="bgShp" presStyleIdx="5" presStyleCnt="7"/>
      <dgm:spPr>
        <a:solidFill>
          <a:schemeClr val="accent1">
            <a:tint val="40000"/>
            <a:hueOff val="0"/>
            <a:satOff val="0"/>
            <a:lumOff val="0"/>
            <a:alphaOff val="0"/>
          </a:schemeClr>
        </a:solidFill>
        <a:ln>
          <a:noFill/>
        </a:ln>
      </dgm:spPr>
    </dgm:pt>
    <dgm:pt modelId="{572EC3DD-4747-4D08-8080-FEFD01566235}" type="pres">
      <dgm:prSet presAssocID="{231A5E3E-BEAC-4643-AEC0-494E55F94A3B}"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isconnected"/>
        </a:ext>
      </dgm:extLst>
    </dgm:pt>
    <dgm:pt modelId="{C07ACDF1-B1C1-4585-90B0-3E3EA7B79A09}" type="pres">
      <dgm:prSet presAssocID="{231A5E3E-BEAC-4643-AEC0-494E55F94A3B}" presName="spaceRect" presStyleCnt="0"/>
      <dgm:spPr/>
    </dgm:pt>
    <dgm:pt modelId="{1D5AEC99-75BD-4251-A255-724AD0F0A785}" type="pres">
      <dgm:prSet presAssocID="{231A5E3E-BEAC-4643-AEC0-494E55F94A3B}" presName="parTx" presStyleLbl="revTx" presStyleIdx="5" presStyleCnt="7">
        <dgm:presLayoutVars>
          <dgm:chMax val="0"/>
          <dgm:chPref val="0"/>
        </dgm:presLayoutVars>
      </dgm:prSet>
      <dgm:spPr/>
    </dgm:pt>
    <dgm:pt modelId="{0F635DEF-46EA-4A08-8E08-AA4EB08FB4FB}" type="pres">
      <dgm:prSet presAssocID="{8F061D4F-67C0-462D-98B5-6197DF537B08}" presName="sibTrans" presStyleCnt="0"/>
      <dgm:spPr/>
    </dgm:pt>
    <dgm:pt modelId="{BD66F62F-8C23-456A-8572-580B0566BB24}" type="pres">
      <dgm:prSet presAssocID="{66759DA8-7923-4702-8294-94150FFE7905}" presName="compNode" presStyleCnt="0"/>
      <dgm:spPr/>
    </dgm:pt>
    <dgm:pt modelId="{BE66F222-4B7E-4DCF-98CD-4A27921714C6}" type="pres">
      <dgm:prSet presAssocID="{66759DA8-7923-4702-8294-94150FFE7905}" presName="bgRect" presStyleLbl="bgShp" presStyleIdx="6" presStyleCnt="7"/>
      <dgm:spPr>
        <a:solidFill>
          <a:schemeClr val="accent1">
            <a:tint val="40000"/>
            <a:hueOff val="0"/>
            <a:satOff val="0"/>
            <a:lumOff val="0"/>
            <a:alphaOff val="0"/>
          </a:schemeClr>
        </a:solidFill>
        <a:ln>
          <a:noFill/>
        </a:ln>
      </dgm:spPr>
    </dgm:pt>
    <dgm:pt modelId="{ABDFA904-3FD3-466E-BD6D-472D480E10CF}" type="pres">
      <dgm:prSet presAssocID="{66759DA8-7923-4702-8294-94150FFE790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Danger"/>
        </a:ext>
      </dgm:extLst>
    </dgm:pt>
    <dgm:pt modelId="{8FA247E0-6072-457B-89A1-DED4048B43F8}" type="pres">
      <dgm:prSet presAssocID="{66759DA8-7923-4702-8294-94150FFE7905}" presName="spaceRect" presStyleCnt="0"/>
      <dgm:spPr/>
    </dgm:pt>
    <dgm:pt modelId="{D7759015-1B81-45A3-B24B-BC9FC83003A9}" type="pres">
      <dgm:prSet presAssocID="{66759DA8-7923-4702-8294-94150FFE7905}" presName="parTx" presStyleLbl="revTx" presStyleIdx="6" presStyleCnt="7">
        <dgm:presLayoutVars>
          <dgm:chMax val="0"/>
          <dgm:chPref val="0"/>
        </dgm:presLayoutVars>
      </dgm:prSet>
      <dgm:spPr/>
    </dgm:pt>
  </dgm:ptLst>
  <dgm:cxnLst>
    <dgm:cxn modelId="{61AAA408-25F1-4F9A-9B5C-5668C5429B54}" type="presOf" srcId="{75B6AE6A-9B0F-4ADC-B232-83EB04025669}" destId="{A97B8EB0-C577-4054-84C1-818EA38BF5B9}" srcOrd="0" destOrd="0" presId="urn:microsoft.com/office/officeart/2018/2/layout/IconVerticalSolidList"/>
    <dgm:cxn modelId="{68C6AF27-91DB-4C12-8588-8F0B2AEE63C0}" type="presOf" srcId="{66759DA8-7923-4702-8294-94150FFE7905}" destId="{D7759015-1B81-45A3-B24B-BC9FC83003A9}" srcOrd="0" destOrd="0" presId="urn:microsoft.com/office/officeart/2018/2/layout/IconVerticalSolidList"/>
    <dgm:cxn modelId="{9913A02B-FC31-4EF9-9E49-408AB8D59C3E}" srcId="{847EA9A9-2A7E-4FE6-BE29-8DF151ECBC7E}" destId="{231A5E3E-BEAC-4643-AEC0-494E55F94A3B}" srcOrd="5" destOrd="0" parTransId="{2BC36E68-80C0-47FE-9E60-1D6E80AC1868}" sibTransId="{8F061D4F-67C0-462D-98B5-6197DF537B08}"/>
    <dgm:cxn modelId="{F7EB5931-777D-4551-B23B-696EE9456499}" srcId="{847EA9A9-2A7E-4FE6-BE29-8DF151ECBC7E}" destId="{66759DA8-7923-4702-8294-94150FFE7905}" srcOrd="6" destOrd="0" parTransId="{8CE7926D-684E-4318-8AD1-74B82DCD2295}" sibTransId="{94499F2B-AD42-41F6-B221-73712FCD1BC6}"/>
    <dgm:cxn modelId="{7C18C134-A121-423C-8896-A7B2D1A40C5B}" type="presOf" srcId="{79707194-1D02-4749-851A-78251A8D6A8E}" destId="{DCAD54F1-4A2A-422E-A86B-590182CAB8AA}" srcOrd="0" destOrd="0" presId="urn:microsoft.com/office/officeart/2018/2/layout/IconVerticalSolidList"/>
    <dgm:cxn modelId="{822C7A38-E933-4102-BB9F-7A2CDACB0EE5}" type="presOf" srcId="{0C3E5329-EB5E-4889-9701-0849A8CD9D82}" destId="{635091B8-29C0-4ABE-8DEC-334A61052E0C}" srcOrd="0" destOrd="0" presId="urn:microsoft.com/office/officeart/2018/2/layout/IconVerticalSolidList"/>
    <dgm:cxn modelId="{5D3E776B-15F6-4B29-B4E7-7724B2AF7A0B}" srcId="{847EA9A9-2A7E-4FE6-BE29-8DF151ECBC7E}" destId="{49DA00EC-20E3-4959-92DB-5FE0DB4E1078}" srcOrd="3" destOrd="0" parTransId="{ADCB2420-3E8D-4D10-815F-BFB534DBDEEC}" sibTransId="{1407D1F4-DC74-4D0C-B033-11CE032EE418}"/>
    <dgm:cxn modelId="{52D9AC6C-EEC0-4369-B473-C2D6258ADC20}" type="presOf" srcId="{1EB4BC62-DA52-4EFC-9CA8-418C08D2348D}" destId="{01E7E8D9-EBEA-4B3C-B1F3-7D20DA711A7B}" srcOrd="0" destOrd="0" presId="urn:microsoft.com/office/officeart/2018/2/layout/IconVerticalSolidList"/>
    <dgm:cxn modelId="{F8146D56-C77C-4AA4-902F-AEF88903F70A}" srcId="{847EA9A9-2A7E-4FE6-BE29-8DF151ECBC7E}" destId="{1EB4BC62-DA52-4EFC-9CA8-418C08D2348D}" srcOrd="4" destOrd="0" parTransId="{5ADD28B4-A80F-4093-AC94-16D6D563B90B}" sibTransId="{C9EFA232-B22D-4D18-BF81-0244D2085864}"/>
    <dgm:cxn modelId="{7332E5CB-9F5F-427C-9725-DB0C86AB9AD1}" type="presOf" srcId="{847EA9A9-2A7E-4FE6-BE29-8DF151ECBC7E}" destId="{41503E0F-AB6D-4568-9453-ABA59B82A4CC}" srcOrd="0" destOrd="0" presId="urn:microsoft.com/office/officeart/2018/2/layout/IconVerticalSolidList"/>
    <dgm:cxn modelId="{1BAECFD4-5CCF-48F7-8AD9-D176C5BB63DD}" srcId="{847EA9A9-2A7E-4FE6-BE29-8DF151ECBC7E}" destId="{75B6AE6A-9B0F-4ADC-B232-83EB04025669}" srcOrd="1" destOrd="0" parTransId="{AC4E4FE5-E6E9-4735-AABB-0C6819A38BD3}" sibTransId="{55B0ED60-47A9-4C9D-BED3-2A9BE70A9BE5}"/>
    <dgm:cxn modelId="{36C513ED-DBE1-412E-A9ED-FDE58F99B160}" srcId="{847EA9A9-2A7E-4FE6-BE29-8DF151ECBC7E}" destId="{79707194-1D02-4749-851A-78251A8D6A8E}" srcOrd="0" destOrd="0" parTransId="{B397E0D1-58FC-466E-A76A-0F9A90D32313}" sibTransId="{CE8F1689-E460-49B6-A0B4-2F42C7441D1E}"/>
    <dgm:cxn modelId="{E389DFF0-78B7-4F56-B148-A250685DF8AD}" type="presOf" srcId="{49DA00EC-20E3-4959-92DB-5FE0DB4E1078}" destId="{CDB89971-F98F-4B5E-A3E6-D8B427874E72}" srcOrd="0" destOrd="0" presId="urn:microsoft.com/office/officeart/2018/2/layout/IconVerticalSolidList"/>
    <dgm:cxn modelId="{820355F3-D0C8-48BA-8092-1E55589D93B9}" srcId="{847EA9A9-2A7E-4FE6-BE29-8DF151ECBC7E}" destId="{0C3E5329-EB5E-4889-9701-0849A8CD9D82}" srcOrd="2" destOrd="0" parTransId="{4F78A490-1C23-4BBF-8016-997EFAAE478F}" sibTransId="{1E1AEB77-E215-409E-B983-A154334C1190}"/>
    <dgm:cxn modelId="{37ED0CF8-D126-49A7-90AD-FD2E2D024EDD}" type="presOf" srcId="{231A5E3E-BEAC-4643-AEC0-494E55F94A3B}" destId="{1D5AEC99-75BD-4251-A255-724AD0F0A785}" srcOrd="0" destOrd="0" presId="urn:microsoft.com/office/officeart/2018/2/layout/IconVerticalSolidList"/>
    <dgm:cxn modelId="{13BC3875-9C78-4510-8AEB-4659E8DF2020}" type="presParOf" srcId="{41503E0F-AB6D-4568-9453-ABA59B82A4CC}" destId="{818C0BB3-442E-42EB-B956-37DA187B65FF}" srcOrd="0" destOrd="0" presId="urn:microsoft.com/office/officeart/2018/2/layout/IconVerticalSolidList"/>
    <dgm:cxn modelId="{32FA5DEC-4869-493C-BF9A-F6CF4733B6A1}" type="presParOf" srcId="{818C0BB3-442E-42EB-B956-37DA187B65FF}" destId="{52A512D9-B40D-47F9-A846-C726F51B1EC6}" srcOrd="0" destOrd="0" presId="urn:microsoft.com/office/officeart/2018/2/layout/IconVerticalSolidList"/>
    <dgm:cxn modelId="{BF821BBA-DC02-42EF-8ED5-AAB2C047D59E}" type="presParOf" srcId="{818C0BB3-442E-42EB-B956-37DA187B65FF}" destId="{CA508474-D63E-4A16-9167-594C791466C4}" srcOrd="1" destOrd="0" presId="urn:microsoft.com/office/officeart/2018/2/layout/IconVerticalSolidList"/>
    <dgm:cxn modelId="{78C70489-D9F4-41F3-AED5-E90BD242BA4E}" type="presParOf" srcId="{818C0BB3-442E-42EB-B956-37DA187B65FF}" destId="{58DC08D3-6ECA-4AC7-A6C4-0D833EF8AF69}" srcOrd="2" destOrd="0" presId="urn:microsoft.com/office/officeart/2018/2/layout/IconVerticalSolidList"/>
    <dgm:cxn modelId="{888BF071-6C9D-489D-A963-EDC3B9C48BE0}" type="presParOf" srcId="{818C0BB3-442E-42EB-B956-37DA187B65FF}" destId="{DCAD54F1-4A2A-422E-A86B-590182CAB8AA}" srcOrd="3" destOrd="0" presId="urn:microsoft.com/office/officeart/2018/2/layout/IconVerticalSolidList"/>
    <dgm:cxn modelId="{8E4248B3-CE5E-4F2F-8697-874B18ACD230}" type="presParOf" srcId="{41503E0F-AB6D-4568-9453-ABA59B82A4CC}" destId="{446014D1-B799-4496-B82A-4DBBC3131499}" srcOrd="1" destOrd="0" presId="urn:microsoft.com/office/officeart/2018/2/layout/IconVerticalSolidList"/>
    <dgm:cxn modelId="{F3729465-30D2-4C75-8246-2E9F7B5D82E6}" type="presParOf" srcId="{41503E0F-AB6D-4568-9453-ABA59B82A4CC}" destId="{4FFB4288-2951-440D-A775-60785C73E6AA}" srcOrd="2" destOrd="0" presId="urn:microsoft.com/office/officeart/2018/2/layout/IconVerticalSolidList"/>
    <dgm:cxn modelId="{F7EC0A42-F425-485C-9A9A-48373B2FA3C6}" type="presParOf" srcId="{4FFB4288-2951-440D-A775-60785C73E6AA}" destId="{02EE004D-26FC-47D1-8269-69D20901CA23}" srcOrd="0" destOrd="0" presId="urn:microsoft.com/office/officeart/2018/2/layout/IconVerticalSolidList"/>
    <dgm:cxn modelId="{2BA4DBA6-B9CC-400F-BD1D-4789C80EECD5}" type="presParOf" srcId="{4FFB4288-2951-440D-A775-60785C73E6AA}" destId="{9E412361-0DD8-455E-ABDC-E515BF65EB9D}" srcOrd="1" destOrd="0" presId="urn:microsoft.com/office/officeart/2018/2/layout/IconVerticalSolidList"/>
    <dgm:cxn modelId="{A293F99A-AD5B-44D9-A151-0B6481DE1FFB}" type="presParOf" srcId="{4FFB4288-2951-440D-A775-60785C73E6AA}" destId="{C21354FB-AD36-42B0-93BE-5F83ED150F04}" srcOrd="2" destOrd="0" presId="urn:microsoft.com/office/officeart/2018/2/layout/IconVerticalSolidList"/>
    <dgm:cxn modelId="{ABD121BB-9647-40A6-8485-2809B3A7D037}" type="presParOf" srcId="{4FFB4288-2951-440D-A775-60785C73E6AA}" destId="{A97B8EB0-C577-4054-84C1-818EA38BF5B9}" srcOrd="3" destOrd="0" presId="urn:microsoft.com/office/officeart/2018/2/layout/IconVerticalSolidList"/>
    <dgm:cxn modelId="{2E02F5B1-82D3-4711-9103-C8CBD85B83DF}" type="presParOf" srcId="{41503E0F-AB6D-4568-9453-ABA59B82A4CC}" destId="{9D06C7C4-FB12-4400-9E9F-3C637653350D}" srcOrd="3" destOrd="0" presId="urn:microsoft.com/office/officeart/2018/2/layout/IconVerticalSolidList"/>
    <dgm:cxn modelId="{9EBF466D-9CB4-44FD-A185-CF797AD74FD4}" type="presParOf" srcId="{41503E0F-AB6D-4568-9453-ABA59B82A4CC}" destId="{40ADC1F3-7B7B-415D-B1A9-2DD20BC18B22}" srcOrd="4" destOrd="0" presId="urn:microsoft.com/office/officeart/2018/2/layout/IconVerticalSolidList"/>
    <dgm:cxn modelId="{FB876242-271B-4EEE-A4C3-8671E39A23F4}" type="presParOf" srcId="{40ADC1F3-7B7B-415D-B1A9-2DD20BC18B22}" destId="{3951A61D-F069-4616-989D-20A828000FE1}" srcOrd="0" destOrd="0" presId="urn:microsoft.com/office/officeart/2018/2/layout/IconVerticalSolidList"/>
    <dgm:cxn modelId="{3B568B95-57A9-446F-8C31-7C3D9960AD6F}" type="presParOf" srcId="{40ADC1F3-7B7B-415D-B1A9-2DD20BC18B22}" destId="{B2C44930-8854-438D-90B1-22C51B82B008}" srcOrd="1" destOrd="0" presId="urn:microsoft.com/office/officeart/2018/2/layout/IconVerticalSolidList"/>
    <dgm:cxn modelId="{E0CBA90F-7A9A-4DFF-8287-77BC5BA45076}" type="presParOf" srcId="{40ADC1F3-7B7B-415D-B1A9-2DD20BC18B22}" destId="{BFF2EDA0-9815-4D23-9634-A8908693BE85}" srcOrd="2" destOrd="0" presId="urn:microsoft.com/office/officeart/2018/2/layout/IconVerticalSolidList"/>
    <dgm:cxn modelId="{2FCF34E1-8FF9-40EA-B7D9-DBEC05007E07}" type="presParOf" srcId="{40ADC1F3-7B7B-415D-B1A9-2DD20BC18B22}" destId="{635091B8-29C0-4ABE-8DEC-334A61052E0C}" srcOrd="3" destOrd="0" presId="urn:microsoft.com/office/officeart/2018/2/layout/IconVerticalSolidList"/>
    <dgm:cxn modelId="{4BFFF748-DBB4-43DC-A723-DC799D2A1CED}" type="presParOf" srcId="{41503E0F-AB6D-4568-9453-ABA59B82A4CC}" destId="{935AB0F7-C73A-4D15-9A92-396AE39B2FBF}" srcOrd="5" destOrd="0" presId="urn:microsoft.com/office/officeart/2018/2/layout/IconVerticalSolidList"/>
    <dgm:cxn modelId="{8BBCDD71-CF53-41AB-AE04-E00524F5EFBA}" type="presParOf" srcId="{41503E0F-AB6D-4568-9453-ABA59B82A4CC}" destId="{5668A616-B452-4CEF-8524-26589C63C0B2}" srcOrd="6" destOrd="0" presId="urn:microsoft.com/office/officeart/2018/2/layout/IconVerticalSolidList"/>
    <dgm:cxn modelId="{FA40FBBF-96A3-4664-81B7-1944A68253AA}" type="presParOf" srcId="{5668A616-B452-4CEF-8524-26589C63C0B2}" destId="{2B9FBFC2-2DA2-4537-8E9D-0102188BB8DA}" srcOrd="0" destOrd="0" presId="urn:microsoft.com/office/officeart/2018/2/layout/IconVerticalSolidList"/>
    <dgm:cxn modelId="{E03D43C3-8E75-4A3F-A4DD-F4D7B65F4DF0}" type="presParOf" srcId="{5668A616-B452-4CEF-8524-26589C63C0B2}" destId="{098824A6-FCA5-4A1B-9C93-02EBF6CE40C2}" srcOrd="1" destOrd="0" presId="urn:microsoft.com/office/officeart/2018/2/layout/IconVerticalSolidList"/>
    <dgm:cxn modelId="{824DD7E4-3C61-44A9-8121-02BEF09779A2}" type="presParOf" srcId="{5668A616-B452-4CEF-8524-26589C63C0B2}" destId="{73A4532D-A95C-4D67-8544-DF90B65AF08C}" srcOrd="2" destOrd="0" presId="urn:microsoft.com/office/officeart/2018/2/layout/IconVerticalSolidList"/>
    <dgm:cxn modelId="{8044ED04-1406-4326-9D43-685A4FF0857A}" type="presParOf" srcId="{5668A616-B452-4CEF-8524-26589C63C0B2}" destId="{CDB89971-F98F-4B5E-A3E6-D8B427874E72}" srcOrd="3" destOrd="0" presId="urn:microsoft.com/office/officeart/2018/2/layout/IconVerticalSolidList"/>
    <dgm:cxn modelId="{4B496445-CB20-4F9E-BDBF-CC57B9B3E425}" type="presParOf" srcId="{41503E0F-AB6D-4568-9453-ABA59B82A4CC}" destId="{C8798EC8-CDEE-4D35-BD8F-FAC6BDEAA192}" srcOrd="7" destOrd="0" presId="urn:microsoft.com/office/officeart/2018/2/layout/IconVerticalSolidList"/>
    <dgm:cxn modelId="{2CFD965B-C120-4CE1-ABA5-46C23403760D}" type="presParOf" srcId="{41503E0F-AB6D-4568-9453-ABA59B82A4CC}" destId="{4729E7F1-7AFB-47B7-90AD-2020F44037FA}" srcOrd="8" destOrd="0" presId="urn:microsoft.com/office/officeart/2018/2/layout/IconVerticalSolidList"/>
    <dgm:cxn modelId="{79434FB8-6EBE-4EC4-97A6-B2149549803F}" type="presParOf" srcId="{4729E7F1-7AFB-47B7-90AD-2020F44037FA}" destId="{5A0D2530-66A5-456F-BF2D-18FEAD527C88}" srcOrd="0" destOrd="0" presId="urn:microsoft.com/office/officeart/2018/2/layout/IconVerticalSolidList"/>
    <dgm:cxn modelId="{13F0E933-1217-45FB-855A-BC2D3A3B744D}" type="presParOf" srcId="{4729E7F1-7AFB-47B7-90AD-2020F44037FA}" destId="{D114D602-97C4-4F4E-85C6-8EC0B97D38A5}" srcOrd="1" destOrd="0" presId="urn:microsoft.com/office/officeart/2018/2/layout/IconVerticalSolidList"/>
    <dgm:cxn modelId="{1C596D5E-42C2-4D58-A0F1-80873D628BF2}" type="presParOf" srcId="{4729E7F1-7AFB-47B7-90AD-2020F44037FA}" destId="{F68ED1C6-C795-4016-B7C9-7ECEB42F8720}" srcOrd="2" destOrd="0" presId="urn:microsoft.com/office/officeart/2018/2/layout/IconVerticalSolidList"/>
    <dgm:cxn modelId="{B53F77CA-398A-43E0-9B24-D9457F488CF3}" type="presParOf" srcId="{4729E7F1-7AFB-47B7-90AD-2020F44037FA}" destId="{01E7E8D9-EBEA-4B3C-B1F3-7D20DA711A7B}" srcOrd="3" destOrd="0" presId="urn:microsoft.com/office/officeart/2018/2/layout/IconVerticalSolidList"/>
    <dgm:cxn modelId="{0565AC7A-79A9-4661-A844-11849ED5AE4F}" type="presParOf" srcId="{41503E0F-AB6D-4568-9453-ABA59B82A4CC}" destId="{6D0477B7-4235-4AC0-8113-107D722676B1}" srcOrd="9" destOrd="0" presId="urn:microsoft.com/office/officeart/2018/2/layout/IconVerticalSolidList"/>
    <dgm:cxn modelId="{D5087C6E-1B63-4BF7-A995-6C132C501642}" type="presParOf" srcId="{41503E0F-AB6D-4568-9453-ABA59B82A4CC}" destId="{9953D956-CD16-4C82-BDAF-7032F64A9D82}" srcOrd="10" destOrd="0" presId="urn:microsoft.com/office/officeart/2018/2/layout/IconVerticalSolidList"/>
    <dgm:cxn modelId="{0479BB3E-25CC-49A7-9463-8D16DA7FCE8F}" type="presParOf" srcId="{9953D956-CD16-4C82-BDAF-7032F64A9D82}" destId="{82650058-36C7-4EF2-A510-6B2A3BC56CBA}" srcOrd="0" destOrd="0" presId="urn:microsoft.com/office/officeart/2018/2/layout/IconVerticalSolidList"/>
    <dgm:cxn modelId="{F9756CED-C161-4E4F-A537-DD1D700CD48D}" type="presParOf" srcId="{9953D956-CD16-4C82-BDAF-7032F64A9D82}" destId="{572EC3DD-4747-4D08-8080-FEFD01566235}" srcOrd="1" destOrd="0" presId="urn:microsoft.com/office/officeart/2018/2/layout/IconVerticalSolidList"/>
    <dgm:cxn modelId="{D105A0A0-CDD1-407D-9B7E-24C463859DB7}" type="presParOf" srcId="{9953D956-CD16-4C82-BDAF-7032F64A9D82}" destId="{C07ACDF1-B1C1-4585-90B0-3E3EA7B79A09}" srcOrd="2" destOrd="0" presId="urn:microsoft.com/office/officeart/2018/2/layout/IconVerticalSolidList"/>
    <dgm:cxn modelId="{299589E5-4D75-4956-8F39-3F8B569316F4}" type="presParOf" srcId="{9953D956-CD16-4C82-BDAF-7032F64A9D82}" destId="{1D5AEC99-75BD-4251-A255-724AD0F0A785}" srcOrd="3" destOrd="0" presId="urn:microsoft.com/office/officeart/2018/2/layout/IconVerticalSolidList"/>
    <dgm:cxn modelId="{A4EE9D8C-3A00-4BF0-9D25-1C4310630BB7}" type="presParOf" srcId="{41503E0F-AB6D-4568-9453-ABA59B82A4CC}" destId="{0F635DEF-46EA-4A08-8E08-AA4EB08FB4FB}" srcOrd="11" destOrd="0" presId="urn:microsoft.com/office/officeart/2018/2/layout/IconVerticalSolidList"/>
    <dgm:cxn modelId="{AE8B9AA9-F6D4-4A4E-B60B-70064F6E502A}" type="presParOf" srcId="{41503E0F-AB6D-4568-9453-ABA59B82A4CC}" destId="{BD66F62F-8C23-456A-8572-580B0566BB24}" srcOrd="12" destOrd="0" presId="urn:microsoft.com/office/officeart/2018/2/layout/IconVerticalSolidList"/>
    <dgm:cxn modelId="{96311F1F-A870-425F-8EEA-4D1F4DBE5072}" type="presParOf" srcId="{BD66F62F-8C23-456A-8572-580B0566BB24}" destId="{BE66F222-4B7E-4DCF-98CD-4A27921714C6}" srcOrd="0" destOrd="0" presId="urn:microsoft.com/office/officeart/2018/2/layout/IconVerticalSolidList"/>
    <dgm:cxn modelId="{F3010B91-95DB-48B1-8336-4C0CC7F9EF4F}" type="presParOf" srcId="{BD66F62F-8C23-456A-8572-580B0566BB24}" destId="{ABDFA904-3FD3-466E-BD6D-472D480E10CF}" srcOrd="1" destOrd="0" presId="urn:microsoft.com/office/officeart/2018/2/layout/IconVerticalSolidList"/>
    <dgm:cxn modelId="{52B4E536-C5D9-4AD2-A6DF-7C22B98B9DFC}" type="presParOf" srcId="{BD66F62F-8C23-456A-8572-580B0566BB24}" destId="{8FA247E0-6072-457B-89A1-DED4048B43F8}" srcOrd="2" destOrd="0" presId="urn:microsoft.com/office/officeart/2018/2/layout/IconVerticalSolidList"/>
    <dgm:cxn modelId="{981F5CD3-2AC9-41B1-8D24-5071F5D1E5DF}" type="presParOf" srcId="{BD66F62F-8C23-456A-8572-580B0566BB24}" destId="{D7759015-1B81-45A3-B24B-BC9FC83003A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2.xml><?xml version="1.0" encoding="utf-8"?>
<dgm:dataModel xmlns:dgm="http://schemas.openxmlformats.org/drawingml/2006/diagram" xmlns:a="http://schemas.openxmlformats.org/drawingml/2006/main">
  <dgm:ptLst>
    <dgm:pt modelId="{5B06EB90-98C5-4859-922A-0B07742D82AD}"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GB"/>
        </a:p>
      </dgm:t>
    </dgm:pt>
    <dgm:pt modelId="{FD113CBC-AF41-4DDD-A93A-E07E64820BFB}" type="parTrans" cxnId="{5E4C6429-430B-42C0-AC92-05D945C30F68}">
      <dgm:prSet/>
      <dgm:spPr/>
      <dgm:t>
        <a:bodyPr/>
        <a:lstStyle/>
        <a:p>
          <a:endParaRPr lang="en-GB"/>
        </a:p>
      </dgm:t>
    </dgm:pt>
    <dgm:pt modelId="{C29D6BEC-58D3-4007-A770-E0D07CF2E858}">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fr-CA" sz="2100" b="0" i="0" strike="noStrike" cap="none" spc="0" baseline="0">
              <a:solidFill>
                <a:srgbClr val="FFFFFF"/>
              </a:solidFill>
              <a:effectLst/>
              <a:latin typeface="Calibri"/>
              <a:ea typeface="Calibri"/>
              <a:cs typeface="Calibri"/>
            </a:rPr>
            <a:t>Harcèlement en milieu de travail</a:t>
          </a:r>
          <a:endParaRPr lang="en-GB"/>
        </a:p>
      </dgm:t>
    </dgm:pt>
    <dgm:pt modelId="{E4D8EC6F-60EA-4903-9AE3-265F0EC19DDD}" type="parTrans" cxnId="{F598AF41-9718-4FFA-9FCB-AD0CA412022A}">
      <dgm:prSet/>
      <dgm:spPr/>
      <dgm:t>
        <a:bodyPr/>
        <a:lstStyle/>
        <a:p>
          <a:endParaRPr lang="en-GB"/>
        </a:p>
      </dgm:t>
    </dgm:pt>
    <dgm:pt modelId="{F6E8E447-F8CD-43F1-87DE-F74AE20E1C91}">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Comportement importun ou offensant fondé sur </a:t>
          </a:r>
          <a:r>
            <a:rPr lang="fr-CA" sz="2100" b="0" i="1" strike="noStrike" cap="none" spc="0" baseline="0">
              <a:solidFill>
                <a:srgbClr val="000000"/>
              </a:solidFill>
              <a:effectLst/>
              <a:latin typeface="Calibri"/>
              <a:ea typeface="Calibri"/>
              <a:cs typeface="Calibri"/>
            </a:rPr>
            <a:t>un motif </a:t>
          </a:r>
          <a:r>
            <a:rPr lang="fr-CA" sz="2100" b="0" i="0" strike="noStrike" cap="none" spc="0" baseline="0">
              <a:solidFill>
                <a:srgbClr val="000000"/>
              </a:solidFill>
              <a:effectLst/>
              <a:latin typeface="Calibri"/>
              <a:ea typeface="Calibri"/>
              <a:cs typeface="Calibri"/>
            </a:rPr>
            <a:t>protégé.</a:t>
          </a:r>
        </a:p>
      </dgm:t>
    </dgm:pt>
    <dgm:pt modelId="{21C90245-59AD-4456-922C-A50A5148DBF2}" type="sibTrans" cxnId="{F598AF41-9718-4FFA-9FCB-AD0CA412022A}">
      <dgm:prSet/>
      <dgm:spPr/>
      <dgm:t>
        <a:bodyPr/>
        <a:lstStyle/>
        <a:p>
          <a:endParaRPr lang="en-GB"/>
        </a:p>
      </dgm:t>
    </dgm:pt>
    <dgm:pt modelId="{234ECDCA-080C-43A2-ACFE-8CED12658805}" type="sibTrans" cxnId="{5E4C6429-430B-42C0-AC92-05D945C30F68}">
      <dgm:prSet/>
      <dgm:spPr/>
      <dgm:t>
        <a:bodyPr/>
        <a:lstStyle/>
        <a:p>
          <a:endParaRPr lang="en-GB"/>
        </a:p>
      </dgm:t>
    </dgm:pt>
    <dgm:pt modelId="{5826039D-93BE-4C3C-BF14-BA91B7E8A1CC}" type="parTrans" cxnId="{E9C7ED32-2B2A-4CD7-90A4-52617D115025}">
      <dgm:prSet/>
      <dgm:spPr/>
      <dgm:t>
        <a:bodyPr/>
        <a:lstStyle/>
        <a:p>
          <a:endParaRPr lang="en-GB"/>
        </a:p>
      </dgm:t>
    </dgm:pt>
    <dgm:pt modelId="{2DC141A4-B592-435C-823C-677788188CB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fr-CA" sz="2100" b="0" i="0" strike="noStrike" cap="none" spc="0" baseline="0">
              <a:solidFill>
                <a:srgbClr val="FFFFFF"/>
              </a:solidFill>
              <a:effectLst/>
              <a:latin typeface="Calibri"/>
              <a:ea typeface="Calibri"/>
              <a:cs typeface="Calibri"/>
            </a:rPr>
            <a:t>Mises à la terre protégées</a:t>
          </a:r>
          <a:endParaRPr lang="en-GB"/>
        </a:p>
      </dgm:t>
    </dgm:pt>
    <dgm:pt modelId="{6673230B-FBEF-4439-B2A7-4E383CCD7B9A}" type="parTrans" cxnId="{D3E47BF6-FDE3-4F86-8F0E-E5F4383AF59E}">
      <dgm:prSet/>
      <dgm:spPr/>
      <dgm:t>
        <a:bodyPr/>
        <a:lstStyle/>
        <a:p>
          <a:endParaRPr lang="en-GB"/>
        </a:p>
      </dgm:t>
    </dgm:pt>
    <dgm:pt modelId="{223E87BF-8BFA-4539-B616-ECF59C7A60AB}">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Les traits personnels qui ne sont pas autorisés à avoir une incidence sur l’emploi ou les décisions liées à l’emploi. </a:t>
          </a:r>
        </a:p>
      </dgm:t>
    </dgm:pt>
    <dgm:pt modelId="{4BBBD690-4134-49AB-AC0C-39A005EB0B05}" type="sibTrans" cxnId="{D3E47BF6-FDE3-4F86-8F0E-E5F4383AF59E}">
      <dgm:prSet/>
      <dgm:spPr/>
      <dgm:t>
        <a:bodyPr/>
        <a:lstStyle/>
        <a:p>
          <a:endParaRPr lang="en-GB"/>
        </a:p>
      </dgm:t>
    </dgm:pt>
    <dgm:pt modelId="{6BB0F509-FF30-4DCA-9060-AF24BAB8AA60}" type="parTrans" cxnId="{91D454E1-75A7-4864-A873-5DA8686AF4A6}">
      <dgm:prSet/>
      <dgm:spPr/>
      <dgm:t>
        <a:bodyPr/>
        <a:lstStyle/>
        <a:p>
          <a:endParaRPr lang="en-GB"/>
        </a:p>
      </dgm:t>
    </dgm:pt>
    <dgm:pt modelId="{7D531FA8-26FB-40E8-8E51-E296BACB2531}">
      <dgm:prSe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pPr>
          <a:r>
            <a:rPr lang="fr-CA" sz="2100" b="0" i="0" strike="noStrike" cap="none" spc="0" baseline="0">
              <a:solidFill>
                <a:srgbClr val="000000"/>
              </a:solidFill>
              <a:effectLst/>
              <a:latin typeface="Calibri"/>
              <a:ea typeface="Calibri"/>
              <a:cs typeface="Calibri"/>
            </a:rPr>
            <a:t>Les gens peuvent avoir plus d’un terrain protégé</a:t>
          </a:r>
        </a:p>
      </dgm:t>
    </dgm:pt>
    <dgm:pt modelId="{E3D22D90-1931-4C1B-AA8B-D22F38EAF7EE}" type="sibTrans" cxnId="{91D454E1-75A7-4864-A873-5DA8686AF4A6}">
      <dgm:prSet/>
      <dgm:spPr/>
      <dgm:t>
        <a:bodyPr/>
        <a:lstStyle/>
        <a:p>
          <a:endParaRPr lang="en-GB"/>
        </a:p>
      </dgm:t>
    </dgm:pt>
    <dgm:pt modelId="{C216D1D6-3A84-44F9-B1FF-E74F77D90E6D}" type="sibTrans" cxnId="{E9C7ED32-2B2A-4CD7-90A4-52617D115025}">
      <dgm:prSet/>
      <dgm:spPr/>
      <dgm:t>
        <a:bodyPr/>
        <a:lstStyle/>
        <a:p>
          <a:endParaRPr lang="en-GB"/>
        </a:p>
      </dgm:t>
    </dgm:pt>
    <dgm:pt modelId="{B714127B-1401-4012-8F90-450026D014FF}" type="parTrans" cxnId="{DC41A509-FC04-4018-B245-1169AAB63752}">
      <dgm:prSet/>
      <dgm:spPr/>
      <dgm:t>
        <a:bodyPr/>
        <a:lstStyle/>
        <a:p>
          <a:endParaRPr lang="en-GB"/>
        </a:p>
      </dgm:t>
    </dgm:pt>
    <dgm:pt modelId="{4488291A-BD94-4685-A34F-B885F3B8EFA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fr-CA" sz="2100" b="0" i="0" strike="noStrike" cap="none" spc="0" baseline="0">
              <a:solidFill>
                <a:srgbClr val="FFFFFF"/>
              </a:solidFill>
              <a:effectLst/>
              <a:latin typeface="Calibri"/>
              <a:ea typeface="Calibri"/>
              <a:cs typeface="Calibri"/>
            </a:rPr>
            <a:t>Comportement intersectionnel</a:t>
          </a:r>
          <a:endParaRPr lang="en-GB"/>
        </a:p>
      </dgm:t>
    </dgm:pt>
    <dgm:pt modelId="{4B04EFF0-8494-45E6-8388-35E677B94DE7}" type="parTrans" cxnId="{9DB684E3-BA4F-4371-9D80-8DF176CF2E4A}">
      <dgm:prSet/>
      <dgm:spPr/>
      <dgm:t>
        <a:bodyPr/>
        <a:lstStyle/>
        <a:p>
          <a:endParaRPr lang="en-GB"/>
        </a:p>
      </dgm:t>
    </dgm:pt>
    <dgm:pt modelId="{2C970401-B79F-44D8-840F-AFC1E28EEAE5}">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Comportement inapproprié ciblant plus d’un terrain protégé.</a:t>
          </a:r>
        </a:p>
      </dgm:t>
    </dgm:pt>
    <dgm:pt modelId="{7A00C314-1333-4C01-ACD9-D8DA13F98F78}" type="sibTrans" cxnId="{9DB684E3-BA4F-4371-9D80-8DF176CF2E4A}">
      <dgm:prSet/>
      <dgm:spPr/>
      <dgm:t>
        <a:bodyPr/>
        <a:lstStyle/>
        <a:p>
          <a:endParaRPr lang="en-GB"/>
        </a:p>
      </dgm:t>
    </dgm:pt>
    <dgm:pt modelId="{746779FD-0831-4795-B732-3F2981C93DCE}" type="parTrans" cxnId="{A9C07228-0764-46B7-9B31-A1D7B945961C}">
      <dgm:prSet/>
      <dgm:spPr/>
      <dgm:t>
        <a:bodyPr/>
        <a:lstStyle/>
        <a:p>
          <a:endParaRPr lang="en-GB"/>
        </a:p>
      </dgm:t>
    </dgm:pt>
    <dgm:pt modelId="{D4BEA0F3-CE19-48A9-A8C5-5635AF03EA29}">
      <dgm:prSet/>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buNone/>
          </a:pPr>
          <a:endParaRPr lang="en-GB"/>
        </a:p>
      </dgm:t>
    </dgm:pt>
    <dgm:pt modelId="{39491536-F75E-4C10-899B-200BA7EC66DC}" type="sibTrans" cxnId="{A9C07228-0764-46B7-9B31-A1D7B945961C}">
      <dgm:prSet/>
      <dgm:spPr/>
      <dgm:t>
        <a:bodyPr/>
        <a:lstStyle/>
        <a:p>
          <a:endParaRPr lang="en-GB"/>
        </a:p>
      </dgm:t>
    </dgm:pt>
    <dgm:pt modelId="{8656FD64-C920-4C1A-B228-DDB0A8E05BB7}" type="sibTrans" cxnId="{DC41A509-FC04-4018-B245-1169AAB63752}">
      <dgm:prSet/>
      <dgm:spPr/>
      <dgm:t>
        <a:bodyPr/>
        <a:lstStyle/>
        <a:p>
          <a:endParaRPr lang="en-GB"/>
        </a:p>
      </dgm:t>
    </dgm:pt>
    <dgm:pt modelId="{0FEB684E-E113-451E-B492-3E45F5FEF5C1}" type="pres">
      <dgm:prSet presAssocID="{5B06EB90-98C5-4859-922A-0B07742D82AD}" presName="Name0" presStyleCnt="0">
        <dgm:presLayoutVars>
          <dgm:dir/>
          <dgm:animLvl val="lvl"/>
          <dgm:resizeHandles val="exact"/>
        </dgm:presLayoutVars>
      </dgm:prSet>
      <dgm:spPr/>
    </dgm:pt>
    <dgm:pt modelId="{17481383-1DBB-4595-AEFE-D8D1DA23F699}" type="pres">
      <dgm:prSet presAssocID="{C29D6BEC-58D3-4007-A770-E0D07CF2E858}" presName="composite" presStyleCnt="0"/>
      <dgm:spPr/>
    </dgm:pt>
    <dgm:pt modelId="{B77136BE-66B6-43CA-ABD3-5EC058011C77}" type="pres">
      <dgm:prSet presAssocID="{C29D6BEC-58D3-4007-A770-E0D07CF2E858}" presName="parTx" presStyleLbl="alignNode1" presStyleIdx="0" presStyleCnt="3">
        <dgm:presLayoutVars>
          <dgm:chMax val="0"/>
          <dgm:chPref val="0"/>
          <dgm:bulletEnabled val="1"/>
        </dgm:presLayoutVars>
      </dgm:prSet>
      <dgm:spPr/>
    </dgm:pt>
    <dgm:pt modelId="{5A01AD50-A4BE-433F-882C-7262AEE7DECE}" type="pres">
      <dgm:prSet presAssocID="{C29D6BEC-58D3-4007-A770-E0D07CF2E858}" presName="desTx" presStyleLbl="alignAccFollowNode1" presStyleIdx="0" presStyleCnt="3">
        <dgm:presLayoutVars>
          <dgm:bulletEnabled val="1"/>
        </dgm:presLayoutVars>
      </dgm:prSet>
      <dgm:spPr/>
    </dgm:pt>
    <dgm:pt modelId="{60AC7C03-037F-4D1B-9634-D54EE3C5640B}" type="pres">
      <dgm:prSet presAssocID="{234ECDCA-080C-43A2-ACFE-8CED12658805}" presName="space" presStyleCnt="0"/>
      <dgm:spPr/>
    </dgm:pt>
    <dgm:pt modelId="{ECE42E4D-E658-4135-AE0B-4C8C74A989ED}" type="pres">
      <dgm:prSet presAssocID="{2DC141A4-B592-435C-823C-677788188CBD}" presName="composite" presStyleCnt="0"/>
      <dgm:spPr/>
    </dgm:pt>
    <dgm:pt modelId="{88EAAD68-E779-4ABE-A5DA-0983BBEBC27F}" type="pres">
      <dgm:prSet presAssocID="{2DC141A4-B592-435C-823C-677788188CBD}" presName="parTx" presStyleLbl="alignNode1" presStyleIdx="1" presStyleCnt="3">
        <dgm:presLayoutVars>
          <dgm:chMax val="0"/>
          <dgm:chPref val="0"/>
          <dgm:bulletEnabled val="1"/>
        </dgm:presLayoutVars>
      </dgm:prSet>
      <dgm:spPr/>
    </dgm:pt>
    <dgm:pt modelId="{E09FF709-B9A1-467B-BBF8-2127A63B2EF3}" type="pres">
      <dgm:prSet presAssocID="{2DC141A4-B592-435C-823C-677788188CBD}" presName="desTx" presStyleLbl="alignAccFollowNode1" presStyleIdx="1" presStyleCnt="3">
        <dgm:presLayoutVars>
          <dgm:bulletEnabled val="1"/>
        </dgm:presLayoutVars>
      </dgm:prSet>
      <dgm:spPr/>
    </dgm:pt>
    <dgm:pt modelId="{9C741542-FC0D-4FA2-8EF6-9DC8D76C0ADD}" type="pres">
      <dgm:prSet presAssocID="{C216D1D6-3A84-44F9-B1FF-E74F77D90E6D}" presName="space" presStyleCnt="0"/>
      <dgm:spPr/>
    </dgm:pt>
    <dgm:pt modelId="{16AA0DCF-6F46-4C2E-80CE-761D09CFA840}" type="pres">
      <dgm:prSet presAssocID="{4488291A-BD94-4685-A34F-B885F3B8EFAD}" presName="composite" presStyleCnt="0"/>
      <dgm:spPr/>
    </dgm:pt>
    <dgm:pt modelId="{F96EBAB5-2385-44A0-9DAE-378482389753}" type="pres">
      <dgm:prSet presAssocID="{4488291A-BD94-4685-A34F-B885F3B8EFAD}" presName="parTx" presStyleLbl="alignNode1" presStyleIdx="2" presStyleCnt="3">
        <dgm:presLayoutVars>
          <dgm:chMax val="0"/>
          <dgm:chPref val="0"/>
          <dgm:bulletEnabled val="1"/>
        </dgm:presLayoutVars>
      </dgm:prSet>
      <dgm:spPr/>
    </dgm:pt>
    <dgm:pt modelId="{205221B7-809E-408A-8761-924C5606E944}" type="pres">
      <dgm:prSet presAssocID="{4488291A-BD94-4685-A34F-B885F3B8EFAD}" presName="desTx" presStyleLbl="alignAccFollowNode1" presStyleIdx="2" presStyleCnt="3">
        <dgm:presLayoutVars>
          <dgm:bulletEnabled val="1"/>
        </dgm:presLayoutVars>
      </dgm:prSet>
      <dgm:spPr/>
    </dgm:pt>
  </dgm:ptLst>
  <dgm:cxnLst>
    <dgm:cxn modelId="{DC41A509-FC04-4018-B245-1169AAB63752}" srcId="{5B06EB90-98C5-4859-922A-0B07742D82AD}" destId="{4488291A-BD94-4685-A34F-B885F3B8EFAD}" srcOrd="2" destOrd="0" parTransId="{B714127B-1401-4012-8F90-450026D014FF}" sibTransId="{8656FD64-C920-4C1A-B228-DDB0A8E05BB7}"/>
    <dgm:cxn modelId="{BFB83312-25B1-46C3-B058-D8D8C3A696E7}" type="presOf" srcId="{5B06EB90-98C5-4859-922A-0B07742D82AD}" destId="{0FEB684E-E113-451E-B492-3E45F5FEF5C1}" srcOrd="0" destOrd="0" presId="urn:microsoft.com/office/officeart/2005/8/layout/hList1"/>
    <dgm:cxn modelId="{A9C07228-0764-46B7-9B31-A1D7B945961C}" srcId="{4488291A-BD94-4685-A34F-B885F3B8EFAD}" destId="{D4BEA0F3-CE19-48A9-A8C5-5635AF03EA29}" srcOrd="1" destOrd="0" parTransId="{746779FD-0831-4795-B732-3F2981C93DCE}" sibTransId="{39491536-F75E-4C10-899B-200BA7EC66DC}"/>
    <dgm:cxn modelId="{5E4C6429-430B-42C0-AC92-05D945C30F68}" srcId="{5B06EB90-98C5-4859-922A-0B07742D82AD}" destId="{C29D6BEC-58D3-4007-A770-E0D07CF2E858}" srcOrd="0" destOrd="0" parTransId="{FD113CBC-AF41-4DDD-A93A-E07E64820BFB}" sibTransId="{234ECDCA-080C-43A2-ACFE-8CED12658805}"/>
    <dgm:cxn modelId="{E9C7ED32-2B2A-4CD7-90A4-52617D115025}" srcId="{5B06EB90-98C5-4859-922A-0B07742D82AD}" destId="{2DC141A4-B592-435C-823C-677788188CBD}" srcOrd="1" destOrd="0" parTransId="{5826039D-93BE-4C3C-BF14-BA91B7E8A1CC}" sibTransId="{C216D1D6-3A84-44F9-B1FF-E74F77D90E6D}"/>
    <dgm:cxn modelId="{FB022260-A0ED-4B2D-8C25-129FA98A56DF}" type="presOf" srcId="{2DC141A4-B592-435C-823C-677788188CBD}" destId="{88EAAD68-E779-4ABE-A5DA-0983BBEBC27F}" srcOrd="0" destOrd="0" presId="urn:microsoft.com/office/officeart/2005/8/layout/hList1"/>
    <dgm:cxn modelId="{F598AF41-9718-4FFA-9FCB-AD0CA412022A}" srcId="{C29D6BEC-58D3-4007-A770-E0D07CF2E858}" destId="{F6E8E447-F8CD-43F1-87DE-F74AE20E1C91}" srcOrd="0" destOrd="0" parTransId="{E4D8EC6F-60EA-4903-9AE3-265F0EC19DDD}" sibTransId="{21C90245-59AD-4456-922C-A50A5148DBF2}"/>
    <dgm:cxn modelId="{EAB33053-0EA1-479F-AAD7-3ACFA6410876}" type="presOf" srcId="{2C970401-B79F-44D8-840F-AFC1E28EEAE5}" destId="{205221B7-809E-408A-8761-924C5606E944}" srcOrd="0" destOrd="0" presId="urn:microsoft.com/office/officeart/2005/8/layout/hList1"/>
    <dgm:cxn modelId="{FFA4B691-C987-4713-8E9A-AF480BB2E5C5}" type="presOf" srcId="{7D531FA8-26FB-40E8-8E51-E296BACB2531}" destId="{E09FF709-B9A1-467B-BBF8-2127A63B2EF3}" srcOrd="0" destOrd="1" presId="urn:microsoft.com/office/officeart/2005/8/layout/hList1"/>
    <dgm:cxn modelId="{03096695-7586-49DD-900B-92DE707682D5}" type="presOf" srcId="{223E87BF-8BFA-4539-B616-ECF59C7A60AB}" destId="{E09FF709-B9A1-467B-BBF8-2127A63B2EF3}" srcOrd="0" destOrd="0" presId="urn:microsoft.com/office/officeart/2005/8/layout/hList1"/>
    <dgm:cxn modelId="{55040AC3-1A26-43B5-BACE-EC5B0DF2C95D}" type="presOf" srcId="{D4BEA0F3-CE19-48A9-A8C5-5635AF03EA29}" destId="{205221B7-809E-408A-8761-924C5606E944}" srcOrd="0" destOrd="1" presId="urn:microsoft.com/office/officeart/2005/8/layout/hList1"/>
    <dgm:cxn modelId="{99201DCA-6047-4AFC-9405-4B6E530FA461}" type="presOf" srcId="{4488291A-BD94-4685-A34F-B885F3B8EFAD}" destId="{F96EBAB5-2385-44A0-9DAE-378482389753}" srcOrd="0" destOrd="0" presId="urn:microsoft.com/office/officeart/2005/8/layout/hList1"/>
    <dgm:cxn modelId="{EF9C6FCB-598D-4B93-BE0A-ED5413C8681E}" type="presOf" srcId="{F6E8E447-F8CD-43F1-87DE-F74AE20E1C91}" destId="{5A01AD50-A4BE-433F-882C-7262AEE7DECE}" srcOrd="0" destOrd="0" presId="urn:microsoft.com/office/officeart/2005/8/layout/hList1"/>
    <dgm:cxn modelId="{E2C653DC-BB44-4F87-AF19-E2B3C29CB7A6}" type="presOf" srcId="{C29D6BEC-58D3-4007-A770-E0D07CF2E858}" destId="{B77136BE-66B6-43CA-ABD3-5EC058011C77}" srcOrd="0" destOrd="0" presId="urn:microsoft.com/office/officeart/2005/8/layout/hList1"/>
    <dgm:cxn modelId="{91D454E1-75A7-4864-A873-5DA8686AF4A6}" srcId="{2DC141A4-B592-435C-823C-677788188CBD}" destId="{7D531FA8-26FB-40E8-8E51-E296BACB2531}" srcOrd="1" destOrd="0" parTransId="{6BB0F509-FF30-4DCA-9060-AF24BAB8AA60}" sibTransId="{E3D22D90-1931-4C1B-AA8B-D22F38EAF7EE}"/>
    <dgm:cxn modelId="{9DB684E3-BA4F-4371-9D80-8DF176CF2E4A}" srcId="{4488291A-BD94-4685-A34F-B885F3B8EFAD}" destId="{2C970401-B79F-44D8-840F-AFC1E28EEAE5}" srcOrd="0" destOrd="0" parTransId="{4B04EFF0-8494-45E6-8388-35E677B94DE7}" sibTransId="{7A00C314-1333-4C01-ACD9-D8DA13F98F78}"/>
    <dgm:cxn modelId="{D3E47BF6-FDE3-4F86-8F0E-E5F4383AF59E}" srcId="{2DC141A4-B592-435C-823C-677788188CBD}" destId="{223E87BF-8BFA-4539-B616-ECF59C7A60AB}" srcOrd="0" destOrd="0" parTransId="{6673230B-FBEF-4439-B2A7-4E383CCD7B9A}" sibTransId="{4BBBD690-4134-49AB-AC0C-39A005EB0B05}"/>
    <dgm:cxn modelId="{1EA6BE76-E96D-48EF-9714-A12C118C435A}" type="presParOf" srcId="{0FEB684E-E113-451E-B492-3E45F5FEF5C1}" destId="{17481383-1DBB-4595-AEFE-D8D1DA23F699}" srcOrd="0" destOrd="0" presId="urn:microsoft.com/office/officeart/2005/8/layout/hList1"/>
    <dgm:cxn modelId="{5CD466EC-3BC1-4974-84C7-F66368BF99BF}" type="presParOf" srcId="{17481383-1DBB-4595-AEFE-D8D1DA23F699}" destId="{B77136BE-66B6-43CA-ABD3-5EC058011C77}" srcOrd="0" destOrd="0" presId="urn:microsoft.com/office/officeart/2005/8/layout/hList1"/>
    <dgm:cxn modelId="{D3E761BC-6DE3-4149-8476-B8C530E80CD8}" type="presParOf" srcId="{17481383-1DBB-4595-AEFE-D8D1DA23F699}" destId="{5A01AD50-A4BE-433F-882C-7262AEE7DECE}" srcOrd="1" destOrd="0" presId="urn:microsoft.com/office/officeart/2005/8/layout/hList1"/>
    <dgm:cxn modelId="{10D52F77-D34C-40A9-A1A8-583F013C4F2C}" type="presParOf" srcId="{0FEB684E-E113-451E-B492-3E45F5FEF5C1}" destId="{60AC7C03-037F-4D1B-9634-D54EE3C5640B}" srcOrd="1" destOrd="0" presId="urn:microsoft.com/office/officeart/2005/8/layout/hList1"/>
    <dgm:cxn modelId="{A128A284-2045-4D61-9CEA-9617FCB252B5}" type="presParOf" srcId="{0FEB684E-E113-451E-B492-3E45F5FEF5C1}" destId="{ECE42E4D-E658-4135-AE0B-4C8C74A989ED}" srcOrd="2" destOrd="0" presId="urn:microsoft.com/office/officeart/2005/8/layout/hList1"/>
    <dgm:cxn modelId="{891AA2A8-7A44-4FE7-B4DE-9C45ADA44509}" type="presParOf" srcId="{ECE42E4D-E658-4135-AE0B-4C8C74A989ED}" destId="{88EAAD68-E779-4ABE-A5DA-0983BBEBC27F}" srcOrd="0" destOrd="0" presId="urn:microsoft.com/office/officeart/2005/8/layout/hList1"/>
    <dgm:cxn modelId="{029615B4-76B6-4AFD-B760-D3DEC927D712}" type="presParOf" srcId="{ECE42E4D-E658-4135-AE0B-4C8C74A989ED}" destId="{E09FF709-B9A1-467B-BBF8-2127A63B2EF3}" srcOrd="1" destOrd="0" presId="urn:microsoft.com/office/officeart/2005/8/layout/hList1"/>
    <dgm:cxn modelId="{452E02AD-53A7-425E-902E-9EB876EBC648}" type="presParOf" srcId="{0FEB684E-E113-451E-B492-3E45F5FEF5C1}" destId="{9C741542-FC0D-4FA2-8EF6-9DC8D76C0ADD}" srcOrd="3" destOrd="0" presId="urn:microsoft.com/office/officeart/2005/8/layout/hList1"/>
    <dgm:cxn modelId="{15F6D0C2-74B8-4D35-BEF6-87E760771DA3}" type="presParOf" srcId="{0FEB684E-E113-451E-B492-3E45F5FEF5C1}" destId="{16AA0DCF-6F46-4C2E-80CE-761D09CFA840}" srcOrd="4" destOrd="0" presId="urn:microsoft.com/office/officeart/2005/8/layout/hList1"/>
    <dgm:cxn modelId="{0522950D-7188-4AC5-BEC5-CD8848302EC0}" type="presParOf" srcId="{16AA0DCF-6F46-4C2E-80CE-761D09CFA840}" destId="{F96EBAB5-2385-44A0-9DAE-378482389753}" srcOrd="0" destOrd="0" presId="urn:microsoft.com/office/officeart/2005/8/layout/hList1"/>
    <dgm:cxn modelId="{8DB7B285-8D7B-411F-998A-BF0C03E8C79D}" type="presParOf" srcId="{16AA0DCF-6F46-4C2E-80CE-761D09CFA840}" destId="{205221B7-809E-408A-8761-924C5606E94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3.xml><?xml version="1.0" encoding="utf-8"?>
<dgm:dataModel xmlns:dgm="http://schemas.openxmlformats.org/drawingml/2006/diagram" xmlns:a="http://schemas.openxmlformats.org/drawingml/2006/main">
  <dgm:ptLst>
    <dgm:pt modelId="{A5A8BE3A-9990-4232-8912-110E6E12180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0486EE9A-3E6E-43FB-AD24-21CD026C9C41}" type="parTrans" cxnId="{2D9AFB4A-49B1-45C4-8213-5A31D88DB532}">
      <dgm:prSet/>
      <dgm:spPr/>
      <dgm:t>
        <a:bodyPr/>
        <a:lstStyle/>
        <a:p>
          <a:endParaRPr lang="en-US"/>
        </a:p>
      </dgm:t>
    </dgm:pt>
    <dgm:pt modelId="{30B572C5-5221-4FD0-8E3E-DC053333C8C3}">
      <dgm:prSet custT="1"/>
      <dgm:spPr>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Âge (40 ans et plus)</a:t>
          </a:r>
          <a:endParaRPr lang="en-US"/>
        </a:p>
      </dgm:t>
    </dgm:pt>
    <dgm:pt modelId="{C98A1F1B-A0C7-43B9-9E01-A003135CB10F}" type="sibTrans" cxnId="{2D9AFB4A-49B1-45C4-8213-5A31D88DB532}">
      <dgm:prSet/>
      <dgm:spPr/>
      <dgm:t>
        <a:bodyPr/>
        <a:lstStyle/>
        <a:p>
          <a:endParaRPr lang="en-US"/>
        </a:p>
      </dgm:t>
    </dgm:pt>
    <dgm:pt modelId="{C650762C-5077-45D8-90A5-966139F10F0D}" type="parTrans" cxnId="{D260EE67-43B0-4069-B30E-D616E6F4BB61}">
      <dgm:prSet/>
      <dgm:spPr/>
      <dgm:t>
        <a:bodyPr/>
        <a:lstStyle/>
        <a:p>
          <a:endParaRPr lang="en-US"/>
        </a:p>
      </dgm:t>
    </dgm:pt>
    <dgm:pt modelId="{84B79948-5B19-4C78-9BA7-00828FCB7C0C}">
      <dgm:prSet custT="1"/>
      <dgm:spPr>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Race/couleur</a:t>
          </a:r>
          <a:endParaRPr lang="en-US"/>
        </a:p>
      </dgm:t>
    </dgm:pt>
    <dgm:pt modelId="{B0A30908-0AEB-414E-B9D4-8F235A79FC3D}" type="sibTrans" cxnId="{D260EE67-43B0-4069-B30E-D616E6F4BB61}">
      <dgm:prSet/>
      <dgm:spPr/>
      <dgm:t>
        <a:bodyPr/>
        <a:lstStyle/>
        <a:p>
          <a:endParaRPr lang="en-US"/>
        </a:p>
      </dgm:t>
    </dgm:pt>
    <dgm:pt modelId="{265C025C-70C6-4FA8-99B2-955218BA8D42}" type="parTrans" cxnId="{2EEE1060-09C8-48E6-ACD6-C793AA435D24}">
      <dgm:prSet/>
      <dgm:spPr/>
      <dgm:t>
        <a:bodyPr/>
        <a:lstStyle/>
        <a:p>
          <a:endParaRPr lang="en-US"/>
        </a:p>
      </dgm:t>
    </dgm:pt>
    <dgm:pt modelId="{AA483315-E412-498F-B60E-0DFFBECDA905}">
      <dgm:prSet custT="1"/>
      <dgm:spPr>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Origine nationale/citoyenneté</a:t>
          </a:r>
          <a:endParaRPr lang="en-US"/>
        </a:p>
      </dgm:t>
    </dgm:pt>
    <dgm:pt modelId="{1D3EF33A-9E18-4617-9552-E7C811B5A57C}" type="sibTrans" cxnId="{2EEE1060-09C8-48E6-ACD6-C793AA435D24}">
      <dgm:prSet/>
      <dgm:spPr/>
      <dgm:t>
        <a:bodyPr/>
        <a:lstStyle/>
        <a:p>
          <a:endParaRPr lang="en-US"/>
        </a:p>
      </dgm:t>
    </dgm:pt>
    <dgm:pt modelId="{E697FD85-26BA-4676-826E-0DDA05BB8786}" type="parTrans" cxnId="{895B693F-D8EC-453E-982F-4F08C489F512}">
      <dgm:prSet/>
      <dgm:spPr/>
      <dgm:t>
        <a:bodyPr/>
        <a:lstStyle/>
        <a:p>
          <a:endParaRPr lang="en-US"/>
        </a:p>
      </dgm:t>
    </dgm:pt>
    <dgm:pt modelId="{1A32B718-F6E8-49ED-B712-04CBBA6EA4EA}">
      <dgm:prSet custT="1"/>
      <dgm:spPr>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Renseignements génétiques</a:t>
          </a:r>
          <a:endParaRPr lang="en-US"/>
        </a:p>
      </dgm:t>
    </dgm:pt>
    <dgm:pt modelId="{2AC6CF8D-EA7B-4E6B-AAA0-36E8122C0BAF}" type="sibTrans" cxnId="{895B693F-D8EC-453E-982F-4F08C489F512}">
      <dgm:prSet/>
      <dgm:spPr/>
      <dgm:t>
        <a:bodyPr/>
        <a:lstStyle/>
        <a:p>
          <a:endParaRPr lang="en-US"/>
        </a:p>
      </dgm:t>
    </dgm:pt>
    <dgm:pt modelId="{71FB683F-DBE8-4F7D-BA4C-BDE8C98C24ED}" type="parTrans" cxnId="{533F5E96-79F6-4C0B-A0D6-CC119A99BF3A}">
      <dgm:prSet/>
      <dgm:spPr/>
      <dgm:t>
        <a:bodyPr/>
        <a:lstStyle/>
        <a:p>
          <a:endParaRPr lang="en-US"/>
        </a:p>
      </dgm:t>
    </dgm:pt>
    <dgm:pt modelId="{8E97A603-FEBF-4B61-9C74-AEF3D1F4B7BC}">
      <dgm:prSet custT="1"/>
      <dgm:spPr>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Langue</a:t>
          </a:r>
          <a:endParaRPr lang="en-US"/>
        </a:p>
      </dgm:t>
    </dgm:pt>
    <dgm:pt modelId="{8F0B935F-DBF3-4CCD-BF3C-D39AF35CD421}" type="sibTrans" cxnId="{533F5E96-79F6-4C0B-A0D6-CC119A99BF3A}">
      <dgm:prSet/>
      <dgm:spPr/>
      <dgm:t>
        <a:bodyPr/>
        <a:lstStyle/>
        <a:p>
          <a:endParaRPr lang="en-US"/>
        </a:p>
      </dgm:t>
    </dgm:pt>
    <dgm:pt modelId="{2B5865D3-CFDB-4A67-A55A-89F722393BB5}" type="parTrans" cxnId="{A26BE783-53E2-419C-8139-C41CB0DE9E58}">
      <dgm:prSet/>
      <dgm:spPr/>
      <dgm:t>
        <a:bodyPr/>
        <a:lstStyle/>
        <a:p>
          <a:endParaRPr lang="en-US"/>
        </a:p>
      </dgm:t>
    </dgm:pt>
    <dgm:pt modelId="{BA24A286-25D9-46BA-BE57-54676FA1E3DF}">
      <dgm:prSet custT="1"/>
      <dgm:spPr>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Religion ou croyance</a:t>
          </a:r>
          <a:endParaRPr lang="en-US"/>
        </a:p>
      </dgm:t>
    </dgm:pt>
    <dgm:pt modelId="{A34CF339-3BCF-4C8D-A48C-3B167F1D3083}" type="sibTrans" cxnId="{A26BE783-53E2-419C-8139-C41CB0DE9E58}">
      <dgm:prSet/>
      <dgm:spPr/>
      <dgm:t>
        <a:bodyPr/>
        <a:lstStyle/>
        <a:p>
          <a:endParaRPr lang="en-US"/>
        </a:p>
      </dgm:t>
    </dgm:pt>
    <dgm:pt modelId="{8B8931D4-C5B0-4122-874C-804A44376DD5}" type="parTrans" cxnId="{D11FD81A-3F78-4A0C-82D6-B37FA6E94FF4}">
      <dgm:prSet/>
      <dgm:spPr/>
      <dgm:t>
        <a:bodyPr/>
        <a:lstStyle/>
        <a:p>
          <a:endParaRPr lang="en-US"/>
        </a:p>
      </dgm:t>
    </dgm:pt>
    <dgm:pt modelId="{D0895D99-5AA0-4CCE-8B73-FE41472C79C3}">
      <dgm:prSet custT="1"/>
      <dgm:spPr>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Idées politiques ou syndicales</a:t>
          </a:r>
          <a:endParaRPr lang="en-US"/>
        </a:p>
      </dgm:t>
    </dgm:pt>
    <dgm:pt modelId="{4A32E3D9-A3F8-4709-A336-BCF80D717EB0}" type="sibTrans" cxnId="{D11FD81A-3F78-4A0C-82D6-B37FA6E94FF4}">
      <dgm:prSet/>
      <dgm:spPr/>
      <dgm:t>
        <a:bodyPr/>
        <a:lstStyle/>
        <a:p>
          <a:endParaRPr lang="en-US"/>
        </a:p>
      </dgm:t>
    </dgm:pt>
    <dgm:pt modelId="{D6F1117D-7524-408D-A5EE-39AD838EE339}" type="parTrans" cxnId="{54FE62EB-A87A-4DA1-A8DE-351DEB61AEF9}">
      <dgm:prSet/>
      <dgm:spPr/>
      <dgm:t>
        <a:bodyPr/>
        <a:lstStyle/>
        <a:p>
          <a:endParaRPr lang="en-US"/>
        </a:p>
      </dgm:t>
    </dgm:pt>
    <dgm:pt modelId="{96179C8C-1DD2-46BA-9583-4CA22832C5E1}">
      <dgm:prSet custT="1"/>
      <dgm:spPr>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Statut d’ancien combattant</a:t>
          </a:r>
          <a:endParaRPr lang="en-US"/>
        </a:p>
      </dgm:t>
    </dgm:pt>
    <dgm:pt modelId="{5DC5A7CA-3518-405F-8121-71430A94FFBC}" type="sibTrans" cxnId="{54FE62EB-A87A-4DA1-A8DE-351DEB61AEF9}">
      <dgm:prSet/>
      <dgm:spPr/>
      <dgm:t>
        <a:bodyPr/>
        <a:lstStyle/>
        <a:p>
          <a:endParaRPr lang="en-US"/>
        </a:p>
      </dgm:t>
    </dgm:pt>
    <dgm:pt modelId="{AC8A5AFF-175A-4F41-AF35-DBEC5235A8A5}" type="parTrans" cxnId="{146BCFA7-F5F5-4B76-996D-E9B5A5EE659B}">
      <dgm:prSet/>
      <dgm:spPr/>
      <dgm:t>
        <a:bodyPr/>
        <a:lstStyle/>
        <a:p>
          <a:endParaRPr lang="en-US"/>
        </a:p>
      </dgm:t>
    </dgm:pt>
    <dgm:pt modelId="{6CCC8163-9C03-44DC-8CD0-BE8BB1ECA829}">
      <dgm:prSet custT="1"/>
      <dgm:spPr>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dirty="0">
              <a:solidFill>
                <a:srgbClr val="FFFFFF"/>
              </a:solidFill>
              <a:effectLst/>
              <a:latin typeface="Calibri"/>
              <a:ea typeface="Calibri"/>
              <a:cs typeface="Calibri"/>
            </a:rPr>
            <a:t>Sexe (comprend la grossesse/ l’accouchement)</a:t>
          </a:r>
        </a:p>
      </dgm:t>
    </dgm:pt>
    <dgm:pt modelId="{C8FCAC15-A25E-40E0-A3EB-7826ADFD9AB3}" type="sibTrans" cxnId="{146BCFA7-F5F5-4B76-996D-E9B5A5EE659B}">
      <dgm:prSet/>
      <dgm:spPr/>
      <dgm:t>
        <a:bodyPr/>
        <a:lstStyle/>
        <a:p>
          <a:endParaRPr lang="en-US"/>
        </a:p>
      </dgm:t>
    </dgm:pt>
    <dgm:pt modelId="{3BA743DB-F0C7-4C18-8B32-924A3D02F4D8}" type="parTrans" cxnId="{DBADEC16-BD68-45CF-B1E2-14CC458A2B6F}">
      <dgm:prSet/>
      <dgm:spPr/>
      <dgm:t>
        <a:bodyPr/>
        <a:lstStyle/>
        <a:p>
          <a:endParaRPr lang="en-US"/>
        </a:p>
      </dgm:t>
    </dgm:pt>
    <dgm:pt modelId="{F2479D3B-5491-487C-B349-8B92252484F4}">
      <dgm:prSet custT="1"/>
      <dgm:spPr>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Identité de genre</a:t>
          </a:r>
          <a:endParaRPr lang="en-US"/>
        </a:p>
      </dgm:t>
    </dgm:pt>
    <dgm:pt modelId="{88371F9B-07F6-4868-A36C-998E067F5033}" type="sibTrans" cxnId="{DBADEC16-BD68-45CF-B1E2-14CC458A2B6F}">
      <dgm:prSet/>
      <dgm:spPr/>
      <dgm:t>
        <a:bodyPr/>
        <a:lstStyle/>
        <a:p>
          <a:endParaRPr lang="en-US"/>
        </a:p>
      </dgm:t>
    </dgm:pt>
    <dgm:pt modelId="{A7E3C7F5-9C15-4A8B-8A1C-CED1AEA2A46A}" type="parTrans" cxnId="{5B89345F-EB23-4E4B-BD1A-7ABEAC466591}">
      <dgm:prSet/>
      <dgm:spPr/>
      <dgm:t>
        <a:bodyPr/>
        <a:lstStyle/>
        <a:p>
          <a:endParaRPr lang="en-US"/>
        </a:p>
      </dgm:t>
    </dgm:pt>
    <dgm:pt modelId="{8F92365D-1570-436B-9D3F-98B02DFD5219}">
      <dgm:prSet custT="1"/>
      <dgm:spPr>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Incapacité physique ou mentale </a:t>
          </a:r>
          <a:endParaRPr lang="en-US"/>
        </a:p>
      </dgm:t>
    </dgm:pt>
    <dgm:pt modelId="{59892764-B9F5-4CE6-A33E-886B13C45D5C}" type="sibTrans" cxnId="{5B89345F-EB23-4E4B-BD1A-7ABEAC466591}">
      <dgm:prSet/>
      <dgm:spPr/>
      <dgm:t>
        <a:bodyPr/>
        <a:lstStyle/>
        <a:p>
          <a:endParaRPr lang="en-US"/>
        </a:p>
      </dgm:t>
    </dgm:pt>
    <dgm:pt modelId="{CABA8938-F305-40CB-BC7C-E6D2B75C5E50}" type="parTrans" cxnId="{57244FB3-E970-4C55-ADA4-86903A863703}">
      <dgm:prSet/>
      <dgm:spPr/>
      <dgm:t>
        <a:bodyPr/>
        <a:lstStyle/>
        <a:p>
          <a:endParaRPr lang="en-US"/>
        </a:p>
      </dgm:t>
    </dgm:pt>
    <dgm:pt modelId="{3A4AD095-B8AF-4668-916C-D465093EA655}">
      <dgm:prSet custT="1"/>
      <dgm:spPr>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dgm:spPr>
      <dgm:t>
        <a:bodyPr/>
        <a:lstStyle/>
        <a:p>
          <a:r>
            <a:rPr lang="fr-CA" sz="1500" b="0" i="0" strike="noStrike" cap="none" spc="0" baseline="0">
              <a:solidFill>
                <a:srgbClr val="FFFFFF"/>
              </a:solidFill>
              <a:effectLst/>
              <a:latin typeface="Calibri"/>
              <a:ea typeface="Calibri"/>
              <a:cs typeface="Calibri"/>
            </a:rPr>
            <a:t>Orientation sexuelle</a:t>
          </a:r>
          <a:endParaRPr lang="en-US"/>
        </a:p>
      </dgm:t>
    </dgm:pt>
    <dgm:pt modelId="{6DEF558F-1461-40A3-B660-305F6075B3AD}" type="sibTrans" cxnId="{57244FB3-E970-4C55-ADA4-86903A863703}">
      <dgm:prSet/>
      <dgm:spPr/>
      <dgm:t>
        <a:bodyPr/>
        <a:lstStyle/>
        <a:p>
          <a:endParaRPr lang="en-US"/>
        </a:p>
      </dgm:t>
    </dgm:pt>
    <dgm:pt modelId="{15814E76-000F-4776-B97F-8B899AD44BAC}" type="pres">
      <dgm:prSet presAssocID="{A5A8BE3A-9990-4232-8912-110E6E121807}" presName="diagram" presStyleCnt="0">
        <dgm:presLayoutVars>
          <dgm:dir/>
          <dgm:resizeHandles val="exact"/>
        </dgm:presLayoutVars>
      </dgm:prSet>
      <dgm:spPr/>
    </dgm:pt>
    <dgm:pt modelId="{6956F062-E831-4C9D-8295-EBD859E85986}" type="pres">
      <dgm:prSet presAssocID="{30B572C5-5221-4FD0-8E3E-DC053333C8C3}" presName="node" presStyleLbl="node1" presStyleIdx="0" presStyleCnt="12">
        <dgm:presLayoutVars>
          <dgm:bulletEnabled val="1"/>
        </dgm:presLayoutVars>
      </dgm:prSet>
      <dgm:spPr/>
    </dgm:pt>
    <dgm:pt modelId="{83BE6824-ECE8-467C-8569-E2F8B857E995}" type="pres">
      <dgm:prSet presAssocID="{C98A1F1B-A0C7-43B9-9E01-A003135CB10F}" presName="sibTrans" presStyleCnt="0"/>
      <dgm:spPr/>
    </dgm:pt>
    <dgm:pt modelId="{314BF5E9-6D32-4139-B1EF-52F90BD3589D}" type="pres">
      <dgm:prSet presAssocID="{84B79948-5B19-4C78-9BA7-00828FCB7C0C}" presName="node" presStyleLbl="node1" presStyleIdx="1" presStyleCnt="12">
        <dgm:presLayoutVars>
          <dgm:bulletEnabled val="1"/>
        </dgm:presLayoutVars>
      </dgm:prSet>
      <dgm:spPr/>
    </dgm:pt>
    <dgm:pt modelId="{4877B61D-64F6-4AE7-BC77-59AA8DC2C961}" type="pres">
      <dgm:prSet presAssocID="{B0A30908-0AEB-414E-B9D4-8F235A79FC3D}" presName="sibTrans" presStyleCnt="0"/>
      <dgm:spPr/>
    </dgm:pt>
    <dgm:pt modelId="{65B48DC4-277D-4510-87DB-C69F1B7D6DD3}" type="pres">
      <dgm:prSet presAssocID="{AA483315-E412-498F-B60E-0DFFBECDA905}" presName="node" presStyleLbl="node1" presStyleIdx="2" presStyleCnt="12">
        <dgm:presLayoutVars>
          <dgm:bulletEnabled val="1"/>
        </dgm:presLayoutVars>
      </dgm:prSet>
      <dgm:spPr/>
    </dgm:pt>
    <dgm:pt modelId="{783803F8-6E7F-4EEA-AAD0-483B213E43F0}" type="pres">
      <dgm:prSet presAssocID="{1D3EF33A-9E18-4617-9552-E7C811B5A57C}" presName="sibTrans" presStyleCnt="0"/>
      <dgm:spPr/>
    </dgm:pt>
    <dgm:pt modelId="{C28451D7-32EE-4871-A93E-B1ABC49EF3AC}" type="pres">
      <dgm:prSet presAssocID="{1A32B718-F6E8-49ED-B712-04CBBA6EA4EA}" presName="node" presStyleLbl="node1" presStyleIdx="3" presStyleCnt="12">
        <dgm:presLayoutVars>
          <dgm:bulletEnabled val="1"/>
        </dgm:presLayoutVars>
      </dgm:prSet>
      <dgm:spPr/>
    </dgm:pt>
    <dgm:pt modelId="{A43E9D34-925F-4655-AC4B-A55B519327B9}" type="pres">
      <dgm:prSet presAssocID="{2AC6CF8D-EA7B-4E6B-AAA0-36E8122C0BAF}" presName="sibTrans" presStyleCnt="0"/>
      <dgm:spPr/>
    </dgm:pt>
    <dgm:pt modelId="{B97059E4-569B-439D-ACCE-C703E8EBB9E0}" type="pres">
      <dgm:prSet presAssocID="{8E97A603-FEBF-4B61-9C74-AEF3D1F4B7BC}" presName="node" presStyleLbl="node1" presStyleIdx="4" presStyleCnt="12">
        <dgm:presLayoutVars>
          <dgm:bulletEnabled val="1"/>
        </dgm:presLayoutVars>
      </dgm:prSet>
      <dgm:spPr/>
    </dgm:pt>
    <dgm:pt modelId="{F6EE2DDB-A1DE-4893-B327-CFE95B44129A}" type="pres">
      <dgm:prSet presAssocID="{8F0B935F-DBF3-4CCD-BF3C-D39AF35CD421}" presName="sibTrans" presStyleCnt="0"/>
      <dgm:spPr/>
    </dgm:pt>
    <dgm:pt modelId="{1C95E413-6173-413A-912F-7DA1BB34D98F}" type="pres">
      <dgm:prSet presAssocID="{BA24A286-25D9-46BA-BE57-54676FA1E3DF}" presName="node" presStyleLbl="node1" presStyleIdx="5" presStyleCnt="12">
        <dgm:presLayoutVars>
          <dgm:bulletEnabled val="1"/>
        </dgm:presLayoutVars>
      </dgm:prSet>
      <dgm:spPr/>
    </dgm:pt>
    <dgm:pt modelId="{68AC4E92-8AE2-4175-AC30-74BB205C523D}" type="pres">
      <dgm:prSet presAssocID="{A34CF339-3BCF-4C8D-A48C-3B167F1D3083}" presName="sibTrans" presStyleCnt="0"/>
      <dgm:spPr/>
    </dgm:pt>
    <dgm:pt modelId="{A26D54B5-B4E7-40E8-9B74-824A0E4BCFBB}" type="pres">
      <dgm:prSet presAssocID="{D0895D99-5AA0-4CCE-8B73-FE41472C79C3}" presName="node" presStyleLbl="node1" presStyleIdx="6" presStyleCnt="12">
        <dgm:presLayoutVars>
          <dgm:bulletEnabled val="1"/>
        </dgm:presLayoutVars>
      </dgm:prSet>
      <dgm:spPr/>
    </dgm:pt>
    <dgm:pt modelId="{68EBFB17-CAB3-420D-837A-15718F4AFEC2}" type="pres">
      <dgm:prSet presAssocID="{4A32E3D9-A3F8-4709-A336-BCF80D717EB0}" presName="sibTrans" presStyleCnt="0"/>
      <dgm:spPr/>
    </dgm:pt>
    <dgm:pt modelId="{00672C99-BC32-447E-BE26-36407AA2BDB2}" type="pres">
      <dgm:prSet presAssocID="{96179C8C-1DD2-46BA-9583-4CA22832C5E1}" presName="node" presStyleLbl="node1" presStyleIdx="7" presStyleCnt="12">
        <dgm:presLayoutVars>
          <dgm:bulletEnabled val="1"/>
        </dgm:presLayoutVars>
      </dgm:prSet>
      <dgm:spPr/>
    </dgm:pt>
    <dgm:pt modelId="{04BA77DB-C2CB-4B5C-B33C-74BA13CCFBA4}" type="pres">
      <dgm:prSet presAssocID="{5DC5A7CA-3518-405F-8121-71430A94FFBC}" presName="sibTrans" presStyleCnt="0"/>
      <dgm:spPr/>
    </dgm:pt>
    <dgm:pt modelId="{4CCD97D0-30AC-4C6D-BD06-F8D29050925E}" type="pres">
      <dgm:prSet presAssocID="{6CCC8163-9C03-44DC-8CD0-BE8BB1ECA829}" presName="node" presStyleLbl="node1" presStyleIdx="8" presStyleCnt="12">
        <dgm:presLayoutVars>
          <dgm:bulletEnabled val="1"/>
        </dgm:presLayoutVars>
      </dgm:prSet>
      <dgm:spPr/>
    </dgm:pt>
    <dgm:pt modelId="{F5570305-EA47-43E3-A112-D29B322D979B}" type="pres">
      <dgm:prSet presAssocID="{C8FCAC15-A25E-40E0-A3EB-7826ADFD9AB3}" presName="sibTrans" presStyleCnt="0"/>
      <dgm:spPr/>
    </dgm:pt>
    <dgm:pt modelId="{483AB9CE-7E99-4641-8A28-E74959ABA064}" type="pres">
      <dgm:prSet presAssocID="{F2479D3B-5491-487C-B349-8B92252484F4}" presName="node" presStyleLbl="node1" presStyleIdx="9" presStyleCnt="12">
        <dgm:presLayoutVars>
          <dgm:bulletEnabled val="1"/>
        </dgm:presLayoutVars>
      </dgm:prSet>
      <dgm:spPr/>
    </dgm:pt>
    <dgm:pt modelId="{3ED9C730-58CB-48F6-A44B-7F354F869F48}" type="pres">
      <dgm:prSet presAssocID="{88371F9B-07F6-4868-A36C-998E067F5033}" presName="sibTrans" presStyleCnt="0"/>
      <dgm:spPr/>
    </dgm:pt>
    <dgm:pt modelId="{EAD55615-8E89-44DC-83A8-7C3F87D1D88C}" type="pres">
      <dgm:prSet presAssocID="{8F92365D-1570-436B-9D3F-98B02DFD5219}" presName="node" presStyleLbl="node1" presStyleIdx="10" presStyleCnt="12">
        <dgm:presLayoutVars>
          <dgm:bulletEnabled val="1"/>
        </dgm:presLayoutVars>
      </dgm:prSet>
      <dgm:spPr/>
    </dgm:pt>
    <dgm:pt modelId="{35A960D8-ECEB-4390-9F81-F1AAB2ECC6FC}" type="pres">
      <dgm:prSet presAssocID="{59892764-B9F5-4CE6-A33E-886B13C45D5C}" presName="sibTrans" presStyleCnt="0"/>
      <dgm:spPr/>
    </dgm:pt>
    <dgm:pt modelId="{498343EC-04AC-4CAD-8B5E-ABC16ACC2F20}" type="pres">
      <dgm:prSet presAssocID="{3A4AD095-B8AF-4668-916C-D465093EA655}" presName="node" presStyleLbl="node1" presStyleIdx="11" presStyleCnt="12">
        <dgm:presLayoutVars>
          <dgm:bulletEnabled val="1"/>
        </dgm:presLayoutVars>
      </dgm:prSet>
      <dgm:spPr/>
    </dgm:pt>
  </dgm:ptLst>
  <dgm:cxnLst>
    <dgm:cxn modelId="{DBADEC16-BD68-45CF-B1E2-14CC458A2B6F}" srcId="{A5A8BE3A-9990-4232-8912-110E6E121807}" destId="{F2479D3B-5491-487C-B349-8B92252484F4}" srcOrd="9" destOrd="0" parTransId="{3BA743DB-F0C7-4C18-8B32-924A3D02F4D8}" sibTransId="{88371F9B-07F6-4868-A36C-998E067F5033}"/>
    <dgm:cxn modelId="{D11FD81A-3F78-4A0C-82D6-B37FA6E94FF4}" srcId="{A5A8BE3A-9990-4232-8912-110E6E121807}" destId="{D0895D99-5AA0-4CCE-8B73-FE41472C79C3}" srcOrd="6" destOrd="0" parTransId="{8B8931D4-C5B0-4122-874C-804A44376DD5}" sibTransId="{4A32E3D9-A3F8-4709-A336-BCF80D717EB0}"/>
    <dgm:cxn modelId="{89942D21-3851-4830-81A0-6F4A51A86A20}" type="presOf" srcId="{D0895D99-5AA0-4CCE-8B73-FE41472C79C3}" destId="{A26D54B5-B4E7-40E8-9B74-824A0E4BCFBB}" srcOrd="0" destOrd="0" presId="urn:microsoft.com/office/officeart/2005/8/layout/default"/>
    <dgm:cxn modelId="{E6F99627-6E34-482B-8688-23FBA1978642}" type="presOf" srcId="{A5A8BE3A-9990-4232-8912-110E6E121807}" destId="{15814E76-000F-4776-B97F-8B899AD44BAC}" srcOrd="0" destOrd="0" presId="urn:microsoft.com/office/officeart/2005/8/layout/default"/>
    <dgm:cxn modelId="{895B693F-D8EC-453E-982F-4F08C489F512}" srcId="{A5A8BE3A-9990-4232-8912-110E6E121807}" destId="{1A32B718-F6E8-49ED-B712-04CBBA6EA4EA}" srcOrd="3" destOrd="0" parTransId="{E697FD85-26BA-4676-826E-0DDA05BB8786}" sibTransId="{2AC6CF8D-EA7B-4E6B-AAA0-36E8122C0BAF}"/>
    <dgm:cxn modelId="{9432335B-8CDB-4E2B-8F5E-8EFD5BEA7C02}" type="presOf" srcId="{AA483315-E412-498F-B60E-0DFFBECDA905}" destId="{65B48DC4-277D-4510-87DB-C69F1B7D6DD3}" srcOrd="0" destOrd="0" presId="urn:microsoft.com/office/officeart/2005/8/layout/default"/>
    <dgm:cxn modelId="{5B89345F-EB23-4E4B-BD1A-7ABEAC466591}" srcId="{A5A8BE3A-9990-4232-8912-110E6E121807}" destId="{8F92365D-1570-436B-9D3F-98B02DFD5219}" srcOrd="10" destOrd="0" parTransId="{A7E3C7F5-9C15-4A8B-8A1C-CED1AEA2A46A}" sibTransId="{59892764-B9F5-4CE6-A33E-886B13C45D5C}"/>
    <dgm:cxn modelId="{2EEE1060-09C8-48E6-ACD6-C793AA435D24}" srcId="{A5A8BE3A-9990-4232-8912-110E6E121807}" destId="{AA483315-E412-498F-B60E-0DFFBECDA905}" srcOrd="2" destOrd="0" parTransId="{265C025C-70C6-4FA8-99B2-955218BA8D42}" sibTransId="{1D3EF33A-9E18-4617-9552-E7C811B5A57C}"/>
    <dgm:cxn modelId="{A8A5FE41-1B36-42A1-9163-292086C7209C}" type="presOf" srcId="{1A32B718-F6E8-49ED-B712-04CBBA6EA4EA}" destId="{C28451D7-32EE-4871-A93E-B1ABC49EF3AC}" srcOrd="0" destOrd="0" presId="urn:microsoft.com/office/officeart/2005/8/layout/default"/>
    <dgm:cxn modelId="{D260EE67-43B0-4069-B30E-D616E6F4BB61}" srcId="{A5A8BE3A-9990-4232-8912-110E6E121807}" destId="{84B79948-5B19-4C78-9BA7-00828FCB7C0C}" srcOrd="1" destOrd="0" parTransId="{C650762C-5077-45D8-90A5-966139F10F0D}" sibTransId="{B0A30908-0AEB-414E-B9D4-8F235A79FC3D}"/>
    <dgm:cxn modelId="{2AA8FF67-87E1-4F77-B0DC-5C2C3AE99882}" type="presOf" srcId="{BA24A286-25D9-46BA-BE57-54676FA1E3DF}" destId="{1C95E413-6173-413A-912F-7DA1BB34D98F}" srcOrd="0" destOrd="0" presId="urn:microsoft.com/office/officeart/2005/8/layout/default"/>
    <dgm:cxn modelId="{2D9AFB4A-49B1-45C4-8213-5A31D88DB532}" srcId="{A5A8BE3A-9990-4232-8912-110E6E121807}" destId="{30B572C5-5221-4FD0-8E3E-DC053333C8C3}" srcOrd="0" destOrd="0" parTransId="{0486EE9A-3E6E-43FB-AD24-21CD026C9C41}" sibTransId="{C98A1F1B-A0C7-43B9-9E01-A003135CB10F}"/>
    <dgm:cxn modelId="{B7EE556E-349E-4257-8F8D-22D8502E04B7}" type="presOf" srcId="{F2479D3B-5491-487C-B349-8B92252484F4}" destId="{483AB9CE-7E99-4641-8A28-E74959ABA064}" srcOrd="0" destOrd="0" presId="urn:microsoft.com/office/officeart/2005/8/layout/default"/>
    <dgm:cxn modelId="{ABC88E55-1A0C-4C14-8170-9668705BDE3E}" type="presOf" srcId="{96179C8C-1DD2-46BA-9583-4CA22832C5E1}" destId="{00672C99-BC32-447E-BE26-36407AA2BDB2}" srcOrd="0" destOrd="0" presId="urn:microsoft.com/office/officeart/2005/8/layout/default"/>
    <dgm:cxn modelId="{A26BE783-53E2-419C-8139-C41CB0DE9E58}" srcId="{A5A8BE3A-9990-4232-8912-110E6E121807}" destId="{BA24A286-25D9-46BA-BE57-54676FA1E3DF}" srcOrd="5" destOrd="0" parTransId="{2B5865D3-CFDB-4A67-A55A-89F722393BB5}" sibTransId="{A34CF339-3BCF-4C8D-A48C-3B167F1D3083}"/>
    <dgm:cxn modelId="{533F5E96-79F6-4C0B-A0D6-CC119A99BF3A}" srcId="{A5A8BE3A-9990-4232-8912-110E6E121807}" destId="{8E97A603-FEBF-4B61-9C74-AEF3D1F4B7BC}" srcOrd="4" destOrd="0" parTransId="{71FB683F-DBE8-4F7D-BA4C-BDE8C98C24ED}" sibTransId="{8F0B935F-DBF3-4CCD-BF3C-D39AF35CD421}"/>
    <dgm:cxn modelId="{8B126A98-573C-4912-B8BB-BCBB097011ED}" type="presOf" srcId="{8F92365D-1570-436B-9D3F-98B02DFD5219}" destId="{EAD55615-8E89-44DC-83A8-7C3F87D1D88C}" srcOrd="0" destOrd="0" presId="urn:microsoft.com/office/officeart/2005/8/layout/default"/>
    <dgm:cxn modelId="{D64319A4-E16A-4D38-9B46-E58EB3FC8861}" type="presOf" srcId="{8E97A603-FEBF-4B61-9C74-AEF3D1F4B7BC}" destId="{B97059E4-569B-439D-ACCE-C703E8EBB9E0}" srcOrd="0" destOrd="0" presId="urn:microsoft.com/office/officeart/2005/8/layout/default"/>
    <dgm:cxn modelId="{146BCFA7-F5F5-4B76-996D-E9B5A5EE659B}" srcId="{A5A8BE3A-9990-4232-8912-110E6E121807}" destId="{6CCC8163-9C03-44DC-8CD0-BE8BB1ECA829}" srcOrd="8" destOrd="0" parTransId="{AC8A5AFF-175A-4F41-AF35-DBEC5235A8A5}" sibTransId="{C8FCAC15-A25E-40E0-A3EB-7826ADFD9AB3}"/>
    <dgm:cxn modelId="{E63146B0-DF72-4D36-AF75-DAF7AB0890C7}" type="presOf" srcId="{3A4AD095-B8AF-4668-916C-D465093EA655}" destId="{498343EC-04AC-4CAD-8B5E-ABC16ACC2F20}" srcOrd="0" destOrd="0" presId="urn:microsoft.com/office/officeart/2005/8/layout/default"/>
    <dgm:cxn modelId="{57244FB3-E970-4C55-ADA4-86903A863703}" srcId="{A5A8BE3A-9990-4232-8912-110E6E121807}" destId="{3A4AD095-B8AF-4668-916C-D465093EA655}" srcOrd="11" destOrd="0" parTransId="{CABA8938-F305-40CB-BC7C-E6D2B75C5E50}" sibTransId="{6DEF558F-1461-40A3-B660-305F6075B3AD}"/>
    <dgm:cxn modelId="{5F60CFB8-A1AA-4AAB-9C47-A758C82607C6}" type="presOf" srcId="{84B79948-5B19-4C78-9BA7-00828FCB7C0C}" destId="{314BF5E9-6D32-4139-B1EF-52F90BD3589D}" srcOrd="0" destOrd="0" presId="urn:microsoft.com/office/officeart/2005/8/layout/default"/>
    <dgm:cxn modelId="{459A06CD-AAAB-4B43-BDDD-F5F2C6AD447B}" type="presOf" srcId="{6CCC8163-9C03-44DC-8CD0-BE8BB1ECA829}" destId="{4CCD97D0-30AC-4C6D-BD06-F8D29050925E}" srcOrd="0" destOrd="0" presId="urn:microsoft.com/office/officeart/2005/8/layout/default"/>
    <dgm:cxn modelId="{6E0787D4-8534-428C-8B4F-9622AEC97C4E}" type="presOf" srcId="{30B572C5-5221-4FD0-8E3E-DC053333C8C3}" destId="{6956F062-E831-4C9D-8295-EBD859E85986}" srcOrd="0" destOrd="0" presId="urn:microsoft.com/office/officeart/2005/8/layout/default"/>
    <dgm:cxn modelId="{54FE62EB-A87A-4DA1-A8DE-351DEB61AEF9}" srcId="{A5A8BE3A-9990-4232-8912-110E6E121807}" destId="{96179C8C-1DD2-46BA-9583-4CA22832C5E1}" srcOrd="7" destOrd="0" parTransId="{D6F1117D-7524-408D-A5EE-39AD838EE339}" sibTransId="{5DC5A7CA-3518-405F-8121-71430A94FFBC}"/>
    <dgm:cxn modelId="{6AA0A4D9-D919-4B63-A713-C2EA49CFF56F}" type="presParOf" srcId="{15814E76-000F-4776-B97F-8B899AD44BAC}" destId="{6956F062-E831-4C9D-8295-EBD859E85986}" srcOrd="0" destOrd="0" presId="urn:microsoft.com/office/officeart/2005/8/layout/default"/>
    <dgm:cxn modelId="{F7D43BB8-3501-49C7-B4BB-7747C4567946}" type="presParOf" srcId="{15814E76-000F-4776-B97F-8B899AD44BAC}" destId="{83BE6824-ECE8-467C-8569-E2F8B857E995}" srcOrd="1" destOrd="0" presId="urn:microsoft.com/office/officeart/2005/8/layout/default"/>
    <dgm:cxn modelId="{D94E0495-2F2D-4296-98D5-FCD25B93D2F0}" type="presParOf" srcId="{15814E76-000F-4776-B97F-8B899AD44BAC}" destId="{314BF5E9-6D32-4139-B1EF-52F90BD3589D}" srcOrd="2" destOrd="0" presId="urn:microsoft.com/office/officeart/2005/8/layout/default"/>
    <dgm:cxn modelId="{B5DB2BB1-5552-40D0-8079-B7A1880C4A09}" type="presParOf" srcId="{15814E76-000F-4776-B97F-8B899AD44BAC}" destId="{4877B61D-64F6-4AE7-BC77-59AA8DC2C961}" srcOrd="3" destOrd="0" presId="urn:microsoft.com/office/officeart/2005/8/layout/default"/>
    <dgm:cxn modelId="{5BD4777C-3684-462A-989E-B344E010795B}" type="presParOf" srcId="{15814E76-000F-4776-B97F-8B899AD44BAC}" destId="{65B48DC4-277D-4510-87DB-C69F1B7D6DD3}" srcOrd="4" destOrd="0" presId="urn:microsoft.com/office/officeart/2005/8/layout/default"/>
    <dgm:cxn modelId="{0A17C85D-7E9B-402B-93C6-56D505E12A74}" type="presParOf" srcId="{15814E76-000F-4776-B97F-8B899AD44BAC}" destId="{783803F8-6E7F-4EEA-AAD0-483B213E43F0}" srcOrd="5" destOrd="0" presId="urn:microsoft.com/office/officeart/2005/8/layout/default"/>
    <dgm:cxn modelId="{FA33E57C-49EE-4B7A-B061-40DEC1EC48C1}" type="presParOf" srcId="{15814E76-000F-4776-B97F-8B899AD44BAC}" destId="{C28451D7-32EE-4871-A93E-B1ABC49EF3AC}" srcOrd="6" destOrd="0" presId="urn:microsoft.com/office/officeart/2005/8/layout/default"/>
    <dgm:cxn modelId="{A06F3A48-3252-46B5-8E02-3A52504236E6}" type="presParOf" srcId="{15814E76-000F-4776-B97F-8B899AD44BAC}" destId="{A43E9D34-925F-4655-AC4B-A55B519327B9}" srcOrd="7" destOrd="0" presId="urn:microsoft.com/office/officeart/2005/8/layout/default"/>
    <dgm:cxn modelId="{7C98E8A5-C6C9-4744-AE23-AFA1973EAFF6}" type="presParOf" srcId="{15814E76-000F-4776-B97F-8B899AD44BAC}" destId="{B97059E4-569B-439D-ACCE-C703E8EBB9E0}" srcOrd="8" destOrd="0" presId="urn:microsoft.com/office/officeart/2005/8/layout/default"/>
    <dgm:cxn modelId="{07D6838A-5CD1-411A-B4EB-BDBF062E01AA}" type="presParOf" srcId="{15814E76-000F-4776-B97F-8B899AD44BAC}" destId="{F6EE2DDB-A1DE-4893-B327-CFE95B44129A}" srcOrd="9" destOrd="0" presId="urn:microsoft.com/office/officeart/2005/8/layout/default"/>
    <dgm:cxn modelId="{6E6B9C2F-EAFD-47FD-B3EA-C5842CC5C11B}" type="presParOf" srcId="{15814E76-000F-4776-B97F-8B899AD44BAC}" destId="{1C95E413-6173-413A-912F-7DA1BB34D98F}" srcOrd="10" destOrd="0" presId="urn:microsoft.com/office/officeart/2005/8/layout/default"/>
    <dgm:cxn modelId="{EC0EA137-4F8A-4291-93C7-8188F634767F}" type="presParOf" srcId="{15814E76-000F-4776-B97F-8B899AD44BAC}" destId="{68AC4E92-8AE2-4175-AC30-74BB205C523D}" srcOrd="11" destOrd="0" presId="urn:microsoft.com/office/officeart/2005/8/layout/default"/>
    <dgm:cxn modelId="{A4AC42DE-1E06-4EEE-9EC9-EFCCC5B7049B}" type="presParOf" srcId="{15814E76-000F-4776-B97F-8B899AD44BAC}" destId="{A26D54B5-B4E7-40E8-9B74-824A0E4BCFBB}" srcOrd="12" destOrd="0" presId="urn:microsoft.com/office/officeart/2005/8/layout/default"/>
    <dgm:cxn modelId="{F597EBBE-39EE-4B60-BB51-C5B586B00DCA}" type="presParOf" srcId="{15814E76-000F-4776-B97F-8B899AD44BAC}" destId="{68EBFB17-CAB3-420D-837A-15718F4AFEC2}" srcOrd="13" destOrd="0" presId="urn:microsoft.com/office/officeart/2005/8/layout/default"/>
    <dgm:cxn modelId="{8D2004FC-48EC-45B8-90A9-49A1B2903A6E}" type="presParOf" srcId="{15814E76-000F-4776-B97F-8B899AD44BAC}" destId="{00672C99-BC32-447E-BE26-36407AA2BDB2}" srcOrd="14" destOrd="0" presId="urn:microsoft.com/office/officeart/2005/8/layout/default"/>
    <dgm:cxn modelId="{0A4747D3-25B5-4356-8D29-365BF0F2D48D}" type="presParOf" srcId="{15814E76-000F-4776-B97F-8B899AD44BAC}" destId="{04BA77DB-C2CB-4B5C-B33C-74BA13CCFBA4}" srcOrd="15" destOrd="0" presId="urn:microsoft.com/office/officeart/2005/8/layout/default"/>
    <dgm:cxn modelId="{58A97B70-283D-41A1-8DE6-11F027C80DF6}" type="presParOf" srcId="{15814E76-000F-4776-B97F-8B899AD44BAC}" destId="{4CCD97D0-30AC-4C6D-BD06-F8D29050925E}" srcOrd="16" destOrd="0" presId="urn:microsoft.com/office/officeart/2005/8/layout/default"/>
    <dgm:cxn modelId="{EA6EAD0C-4F8A-4836-A6F6-F385C7EED7C2}" type="presParOf" srcId="{15814E76-000F-4776-B97F-8B899AD44BAC}" destId="{F5570305-EA47-43E3-A112-D29B322D979B}" srcOrd="17" destOrd="0" presId="urn:microsoft.com/office/officeart/2005/8/layout/default"/>
    <dgm:cxn modelId="{DCBEADFB-595F-482C-B682-83826EA6046E}" type="presParOf" srcId="{15814E76-000F-4776-B97F-8B899AD44BAC}" destId="{483AB9CE-7E99-4641-8A28-E74959ABA064}" srcOrd="18" destOrd="0" presId="urn:microsoft.com/office/officeart/2005/8/layout/default"/>
    <dgm:cxn modelId="{B52C992A-80F7-460C-96AA-DF37F5EA0469}" type="presParOf" srcId="{15814E76-000F-4776-B97F-8B899AD44BAC}" destId="{3ED9C730-58CB-48F6-A44B-7F354F869F48}" srcOrd="19" destOrd="0" presId="urn:microsoft.com/office/officeart/2005/8/layout/default"/>
    <dgm:cxn modelId="{702399C1-2690-44B6-BF4E-17306E41AA39}" type="presParOf" srcId="{15814E76-000F-4776-B97F-8B899AD44BAC}" destId="{EAD55615-8E89-44DC-83A8-7C3F87D1D88C}" srcOrd="20" destOrd="0" presId="urn:microsoft.com/office/officeart/2005/8/layout/default"/>
    <dgm:cxn modelId="{EF8F672E-7A04-47BF-97A2-3752157F8140}" type="presParOf" srcId="{15814E76-000F-4776-B97F-8B899AD44BAC}" destId="{35A960D8-ECEB-4390-9F81-F1AAB2ECC6FC}" srcOrd="21" destOrd="0" presId="urn:microsoft.com/office/officeart/2005/8/layout/default"/>
    <dgm:cxn modelId="{57D3D7DC-D8C4-41B0-A156-D2CC84BFF8A5}" type="presParOf" srcId="{15814E76-000F-4776-B97F-8B899AD44BAC}" destId="{498343EC-04AC-4CAD-8B5E-ABC16ACC2F20}"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4.xml><?xml version="1.0" encoding="utf-8"?>
<dgm:dataModel xmlns:dgm="http://schemas.openxmlformats.org/drawingml/2006/diagram" xmlns:a="http://schemas.openxmlformats.org/drawingml/2006/main">
  <dgm:ptLst>
    <dgm:pt modelId="{3CDF3A72-4E7D-44E7-9126-943CBEB76C39}"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CE90C112-028F-4005-BE5A-58F1022297C6}" type="parTrans" cxnId="{1AF1CC72-8D0C-4FC7-9EA7-D662F00182A5}">
      <dgm:prSet/>
      <dgm:spPr/>
      <dgm:t>
        <a:bodyPr/>
        <a:lstStyle/>
        <a:p>
          <a:endParaRPr lang="en-US"/>
        </a:p>
      </dgm:t>
    </dgm:pt>
    <dgm:pt modelId="{E709D1A9-032D-4046-915C-1A3C52F288E6}">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fr-CA" sz="2800" b="1" i="0" u="sng" strike="noStrike" cap="none" spc="0" baseline="0">
              <a:solidFill>
                <a:srgbClr val="FFFFFF"/>
              </a:solidFill>
              <a:effectLst/>
              <a:uFill>
                <a:solidFill>
                  <a:srgbClr val="FFFFFF"/>
                </a:solidFill>
              </a:uFill>
              <a:latin typeface="Calibri"/>
              <a:ea typeface="Calibri"/>
              <a:cs typeface="Calibri"/>
            </a:rPr>
            <a:t>Le harcèlement sexuel </a:t>
          </a:r>
          <a:r>
            <a:rPr lang="fr-CA" sz="2800" b="0" i="0" strike="noStrike" cap="none" spc="0" baseline="0">
              <a:solidFill>
                <a:srgbClr val="FFFFFF"/>
              </a:solidFill>
              <a:effectLst/>
              <a:latin typeface="Calibri"/>
              <a:ea typeface="Calibri"/>
              <a:cs typeface="Calibri"/>
            </a:rPr>
            <a:t>est une conduite verbale, non verbale ou physique non désirée de nature sexuelle qui viole la dignité d’une personne.</a:t>
          </a:r>
        </a:p>
        <a:p>
          <a:r>
            <a:rPr lang="fr-CA" sz="2800" b="0" i="0" strike="noStrike" cap="none" spc="0" baseline="0">
              <a:solidFill>
                <a:srgbClr val="FFFFFF"/>
              </a:solidFill>
              <a:effectLst/>
              <a:latin typeface="Calibri"/>
              <a:ea typeface="Calibri"/>
              <a:cs typeface="Calibri"/>
            </a:rPr>
            <a:t> Il existe deux types différents de harcèlement sexuel :</a:t>
          </a:r>
          <a:endParaRPr lang="en-US"/>
        </a:p>
      </dgm:t>
    </dgm:pt>
    <dgm:pt modelId="{D73A1FCF-5D89-4468-800A-D8F31CB13DD3}" type="parTrans" cxnId="{9BC7E2DB-9F9F-4370-8178-21A6CABFFE0B}">
      <dgm:prSet/>
      <dgm:spPr/>
      <dgm:t>
        <a:bodyPr/>
        <a:lstStyle/>
        <a:p>
          <a:endParaRPr lang="en-US"/>
        </a:p>
      </dgm:t>
    </dgm:pt>
    <dgm:pt modelId="{51D27A79-C8E2-42E1-AC9E-C97553C130EA}">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fr-CA" sz="1400" b="1" i="0" u="sng" strike="noStrike" cap="none" spc="0" baseline="0">
              <a:solidFill>
                <a:srgbClr val="FFFFFF"/>
              </a:solidFill>
              <a:effectLst/>
              <a:uFill>
                <a:solidFill>
                  <a:srgbClr val="FFFFFF"/>
                </a:solidFill>
              </a:uFill>
              <a:latin typeface="Calibri"/>
              <a:ea typeface="Calibri"/>
              <a:cs typeface="Calibri"/>
            </a:rPr>
            <a:t>Quid Pro Quo</a:t>
          </a:r>
          <a:endParaRPr lang="en-GB">
            <a:solidFill>
              <a:srgbClr val="FF0000"/>
            </a:solidFill>
          </a:endParaRPr>
        </a:p>
        <a:p>
          <a:r>
            <a:rPr lang="fr-CA" sz="1400" b="0" i="0" strike="noStrike" cap="none" spc="0" baseline="0">
              <a:solidFill>
                <a:srgbClr val="FFFFFF"/>
              </a:solidFill>
              <a:effectLst/>
              <a:latin typeface="Calibri"/>
              <a:ea typeface="Calibri"/>
              <a:cs typeface="Calibri"/>
            </a:rPr>
            <a:t>Quid Pro Quo est latin et signifie « cela pour cela » et signifie fonder les décisions de travail sur le fait que quelqu’un accepte ou rejette une conduite sexuelle importune.</a:t>
          </a:r>
        </a:p>
        <a:p>
          <a:r>
            <a:rPr lang="fr-CA" sz="1400" b="0" i="0" strike="noStrike" cap="none" spc="0" baseline="0">
              <a:solidFill>
                <a:srgbClr val="FFFFFF"/>
              </a:solidFill>
              <a:effectLst/>
              <a:latin typeface="Calibri"/>
              <a:ea typeface="Calibri"/>
              <a:cs typeface="Calibri"/>
            </a:rPr>
            <a:t> Il peut s’agir d’une conduite sexuelle, intime ou romantique.</a:t>
          </a:r>
        </a:p>
        <a:p>
          <a:r>
            <a:rPr lang="fr-CA" sz="1400" b="0" i="0" strike="noStrike" cap="none" spc="0" baseline="0">
              <a:solidFill>
                <a:srgbClr val="FFFFFF"/>
              </a:solidFill>
              <a:effectLst/>
              <a:latin typeface="Calibri"/>
              <a:ea typeface="Calibri"/>
              <a:cs typeface="Calibri"/>
            </a:rPr>
            <a:t> Elle implique toujours des gestionnaires ou d’autres personnes occupant des postes d’autorité. </a:t>
          </a:r>
          <a:endParaRPr lang="en-US"/>
        </a:p>
      </dgm:t>
    </dgm:pt>
    <dgm:pt modelId="{B9D1F81C-EB2C-4FF9-8BBE-58D3F5068E79}" type="sibTrans" cxnId="{9BC7E2DB-9F9F-4370-8178-21A6CABFFE0B}">
      <dgm:prSet/>
      <dgm:spPr/>
      <dgm:t>
        <a:bodyPr/>
        <a:lstStyle/>
        <a:p>
          <a:endParaRPr lang="en-US"/>
        </a:p>
      </dgm:t>
    </dgm:pt>
    <dgm:pt modelId="{72A70C7C-CE84-4C90-BD05-A83F54C37871}" type="parTrans" cxnId="{BBB54E37-33E9-4FAA-B60F-9316C033D1F6}">
      <dgm:prSet/>
      <dgm:spPr/>
      <dgm:t>
        <a:bodyPr/>
        <a:lstStyle/>
        <a:p>
          <a:endParaRPr lang="en-US"/>
        </a:p>
      </dgm:t>
    </dgm:pt>
    <dgm:pt modelId="{404D2D27-F06D-476A-9332-E8BF77820EE3}">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fr-CA" sz="1400" b="1" i="0" u="sng" strike="noStrike" cap="none" spc="0" baseline="0">
              <a:solidFill>
                <a:srgbClr val="FFFFFF"/>
              </a:solidFill>
              <a:effectLst/>
              <a:uFill>
                <a:solidFill>
                  <a:srgbClr val="FFFFFF"/>
                </a:solidFill>
              </a:uFill>
              <a:latin typeface="Calibri"/>
              <a:ea typeface="Calibri"/>
              <a:cs typeface="Calibri"/>
            </a:rPr>
            <a:t>Environnement de travail hostile</a:t>
          </a:r>
          <a:r>
            <a:rPr lang="fr-CA" sz="1400" b="0" i="0" strike="noStrike" cap="none" spc="0" baseline="0">
              <a:solidFill>
                <a:srgbClr val="FF0000"/>
              </a:solidFill>
              <a:effectLst/>
              <a:latin typeface="Calibri"/>
              <a:ea typeface="Calibri"/>
              <a:cs typeface="Calibri"/>
            </a:rPr>
            <a:t> </a:t>
          </a:r>
        </a:p>
        <a:p>
          <a:r>
            <a:rPr lang="fr-CA" sz="1400" b="0" i="0" strike="noStrike" cap="none" spc="0" baseline="0">
              <a:solidFill>
                <a:srgbClr val="FFFFFF"/>
              </a:solidFill>
              <a:effectLst/>
              <a:latin typeface="Calibri"/>
              <a:ea typeface="Calibri"/>
              <a:cs typeface="Calibri"/>
            </a:rPr>
            <a:t>Comportement importun qui crée un environnement de travail intimidant, hostile, dégradant, humiliant ou offensant. </a:t>
          </a:r>
        </a:p>
        <a:p>
          <a:r>
            <a:rPr lang="fr-CA" sz="1400" b="0" i="0" strike="noStrike" cap="none" spc="0" baseline="0">
              <a:solidFill>
                <a:srgbClr val="FFFFFF"/>
              </a:solidFill>
              <a:effectLst/>
              <a:latin typeface="Calibri"/>
              <a:ea typeface="Calibri"/>
              <a:cs typeface="Calibri"/>
            </a:rPr>
            <a:t>Peut être un comportement verbal, visuel, physique, numérique ou écrit. </a:t>
          </a:r>
        </a:p>
        <a:p>
          <a:r>
            <a:rPr lang="fr-CA" sz="1400" b="0" i="0" strike="noStrike" cap="none" spc="0" baseline="0">
              <a:solidFill>
                <a:srgbClr val="FFFFFF"/>
              </a:solidFill>
              <a:effectLst/>
              <a:latin typeface="Calibri"/>
              <a:ea typeface="Calibri"/>
              <a:cs typeface="Calibri"/>
            </a:rPr>
            <a:t>N’importe qui, pas seulement quelqu’un en position d’autorité, peut se livrer à ce type de conduite illégale. </a:t>
          </a:r>
          <a:endParaRPr lang="en-US"/>
        </a:p>
      </dgm:t>
    </dgm:pt>
    <dgm:pt modelId="{EED6236B-CB0B-475F-B61A-A7580C606347}" type="sibTrans" cxnId="{BBB54E37-33E9-4FAA-B60F-9316C033D1F6}">
      <dgm:prSet/>
      <dgm:spPr/>
      <dgm:t>
        <a:bodyPr/>
        <a:lstStyle/>
        <a:p>
          <a:endParaRPr lang="en-US"/>
        </a:p>
      </dgm:t>
    </dgm:pt>
    <dgm:pt modelId="{24DA7CF3-04CE-4B21-BB47-B688A733DCCB}" type="sibTrans" cxnId="{1AF1CC72-8D0C-4FC7-9EA7-D662F00182A5}">
      <dgm:prSet/>
      <dgm:spPr/>
      <dgm:t>
        <a:bodyPr/>
        <a:lstStyle/>
        <a:p>
          <a:endParaRPr lang="en-US"/>
        </a:p>
      </dgm:t>
    </dgm:pt>
    <dgm:pt modelId="{82C30EA1-251F-44D7-BE08-B40408335ACD}" type="pres">
      <dgm:prSet presAssocID="{3CDF3A72-4E7D-44E7-9126-943CBEB76C39}" presName="Name0" presStyleCnt="0">
        <dgm:presLayoutVars>
          <dgm:chPref val="1"/>
          <dgm:dir/>
          <dgm:animOne val="branch"/>
          <dgm:animLvl val="lvl"/>
          <dgm:resizeHandles/>
        </dgm:presLayoutVars>
      </dgm:prSet>
      <dgm:spPr/>
    </dgm:pt>
    <dgm:pt modelId="{ABB18B46-294A-49A7-B30A-B2315553F715}" type="pres">
      <dgm:prSet presAssocID="{E709D1A9-032D-4046-915C-1A3C52F288E6}" presName="vertOne" presStyleCnt="0"/>
      <dgm:spPr/>
    </dgm:pt>
    <dgm:pt modelId="{F0682F32-5C4B-42CE-AEF9-AB56A3FF7419}" type="pres">
      <dgm:prSet presAssocID="{E709D1A9-032D-4046-915C-1A3C52F288E6}" presName="txOne" presStyleLbl="node0" presStyleIdx="0" presStyleCnt="1">
        <dgm:presLayoutVars>
          <dgm:chPref val="3"/>
        </dgm:presLayoutVars>
      </dgm:prSet>
      <dgm:spPr/>
    </dgm:pt>
    <dgm:pt modelId="{47C39050-60A1-45EB-A1DD-8FA91BF0A74E}" type="pres">
      <dgm:prSet presAssocID="{E709D1A9-032D-4046-915C-1A3C52F288E6}" presName="parTransOne" presStyleCnt="0"/>
      <dgm:spPr/>
    </dgm:pt>
    <dgm:pt modelId="{ED6B47B3-E8E0-457E-AE81-9960865A6ADF}" type="pres">
      <dgm:prSet presAssocID="{E709D1A9-032D-4046-915C-1A3C52F288E6}" presName="horzOne" presStyleCnt="0"/>
      <dgm:spPr/>
    </dgm:pt>
    <dgm:pt modelId="{15624F3B-1895-4B52-823A-54BED7D68C96}" type="pres">
      <dgm:prSet presAssocID="{51D27A79-C8E2-42E1-AC9E-C97553C130EA}" presName="vertTwo" presStyleCnt="0"/>
      <dgm:spPr/>
    </dgm:pt>
    <dgm:pt modelId="{2BBD0B2E-4BE4-48AC-A125-1761F93E54D0}" type="pres">
      <dgm:prSet presAssocID="{51D27A79-C8E2-42E1-AC9E-C97553C130EA}" presName="txTwo" presStyleLbl="node2" presStyleIdx="0" presStyleCnt="2">
        <dgm:presLayoutVars>
          <dgm:chPref val="3"/>
        </dgm:presLayoutVars>
      </dgm:prSet>
      <dgm:spPr/>
    </dgm:pt>
    <dgm:pt modelId="{B6D935AB-6C09-464B-8F9B-2DF172217FA9}" type="pres">
      <dgm:prSet presAssocID="{51D27A79-C8E2-42E1-AC9E-C97553C130EA}" presName="horzTwo" presStyleCnt="0"/>
      <dgm:spPr/>
    </dgm:pt>
    <dgm:pt modelId="{B06879F3-AC6C-40F1-8DBB-CF135CEB9770}" type="pres">
      <dgm:prSet presAssocID="{B9D1F81C-EB2C-4FF9-8BBE-58D3F5068E79}" presName="sibSpaceTwo" presStyleCnt="0"/>
      <dgm:spPr/>
    </dgm:pt>
    <dgm:pt modelId="{0B186A5D-5DB3-4AF4-BCA8-CD369901CAD6}" type="pres">
      <dgm:prSet presAssocID="{404D2D27-F06D-476A-9332-E8BF77820EE3}" presName="vertTwo" presStyleCnt="0"/>
      <dgm:spPr/>
    </dgm:pt>
    <dgm:pt modelId="{88F1ABA4-3573-4291-80C5-CCCD060891F4}" type="pres">
      <dgm:prSet presAssocID="{404D2D27-F06D-476A-9332-E8BF77820EE3}" presName="txTwo" presStyleLbl="node2" presStyleIdx="1" presStyleCnt="2">
        <dgm:presLayoutVars>
          <dgm:chPref val="3"/>
        </dgm:presLayoutVars>
      </dgm:prSet>
      <dgm:spPr/>
    </dgm:pt>
    <dgm:pt modelId="{8B56421F-E0C0-4619-AA40-3517D4B3DB3B}" type="pres">
      <dgm:prSet presAssocID="{404D2D27-F06D-476A-9332-E8BF77820EE3}" presName="horzTwo" presStyleCnt="0"/>
      <dgm:spPr/>
    </dgm:pt>
  </dgm:ptLst>
  <dgm:cxnLst>
    <dgm:cxn modelId="{E8467434-F745-48D0-AE66-2FC7432756A2}" type="presOf" srcId="{51D27A79-C8E2-42E1-AC9E-C97553C130EA}" destId="{2BBD0B2E-4BE4-48AC-A125-1761F93E54D0}" srcOrd="0" destOrd="0" presId="urn:microsoft.com/office/officeart/2005/8/layout/hierarchy4"/>
    <dgm:cxn modelId="{BBB54E37-33E9-4FAA-B60F-9316C033D1F6}" srcId="{E709D1A9-032D-4046-915C-1A3C52F288E6}" destId="{404D2D27-F06D-476A-9332-E8BF77820EE3}" srcOrd="1" destOrd="0" parTransId="{72A70C7C-CE84-4C90-BD05-A83F54C37871}" sibTransId="{EED6236B-CB0B-475F-B61A-A7580C606347}"/>
    <dgm:cxn modelId="{1AF1CC72-8D0C-4FC7-9EA7-D662F00182A5}" srcId="{3CDF3A72-4E7D-44E7-9126-943CBEB76C39}" destId="{E709D1A9-032D-4046-915C-1A3C52F288E6}" srcOrd="0" destOrd="0" parTransId="{CE90C112-028F-4005-BE5A-58F1022297C6}" sibTransId="{24DA7CF3-04CE-4B21-BB47-B688A733DCCB}"/>
    <dgm:cxn modelId="{286B338D-4FFE-4537-B7A3-CF7842E8C05F}" type="presOf" srcId="{3CDF3A72-4E7D-44E7-9126-943CBEB76C39}" destId="{82C30EA1-251F-44D7-BE08-B40408335ACD}" srcOrd="0" destOrd="0" presId="urn:microsoft.com/office/officeart/2005/8/layout/hierarchy4"/>
    <dgm:cxn modelId="{81E243CF-5AEF-4144-BA2A-A6BE9A30C9B3}" type="presOf" srcId="{E709D1A9-032D-4046-915C-1A3C52F288E6}" destId="{F0682F32-5C4B-42CE-AEF9-AB56A3FF7419}" srcOrd="0" destOrd="0" presId="urn:microsoft.com/office/officeart/2005/8/layout/hierarchy4"/>
    <dgm:cxn modelId="{9BC7E2DB-9F9F-4370-8178-21A6CABFFE0B}" srcId="{E709D1A9-032D-4046-915C-1A3C52F288E6}" destId="{51D27A79-C8E2-42E1-AC9E-C97553C130EA}" srcOrd="0" destOrd="0" parTransId="{D73A1FCF-5D89-4468-800A-D8F31CB13DD3}" sibTransId="{B9D1F81C-EB2C-4FF9-8BBE-58D3F5068E79}"/>
    <dgm:cxn modelId="{3E7228E7-240A-414A-9803-67F9BCC82C4E}" type="presOf" srcId="{404D2D27-F06D-476A-9332-E8BF77820EE3}" destId="{88F1ABA4-3573-4291-80C5-CCCD060891F4}" srcOrd="0" destOrd="0" presId="urn:microsoft.com/office/officeart/2005/8/layout/hierarchy4"/>
    <dgm:cxn modelId="{0528C0AC-FB03-410A-AAAF-1747888B96C7}" type="presParOf" srcId="{82C30EA1-251F-44D7-BE08-B40408335ACD}" destId="{ABB18B46-294A-49A7-B30A-B2315553F715}" srcOrd="0" destOrd="0" presId="urn:microsoft.com/office/officeart/2005/8/layout/hierarchy4"/>
    <dgm:cxn modelId="{5FED9D74-0FBF-4BB4-B918-E2C0A442777A}" type="presParOf" srcId="{ABB18B46-294A-49A7-B30A-B2315553F715}" destId="{F0682F32-5C4B-42CE-AEF9-AB56A3FF7419}" srcOrd="0" destOrd="0" presId="urn:microsoft.com/office/officeart/2005/8/layout/hierarchy4"/>
    <dgm:cxn modelId="{17447798-0112-4FE5-A10D-50D052B12643}" type="presParOf" srcId="{ABB18B46-294A-49A7-B30A-B2315553F715}" destId="{47C39050-60A1-45EB-A1DD-8FA91BF0A74E}" srcOrd="1" destOrd="0" presId="urn:microsoft.com/office/officeart/2005/8/layout/hierarchy4"/>
    <dgm:cxn modelId="{DE8E745D-33F6-45E1-9DB4-46B22AA6F023}" type="presParOf" srcId="{ABB18B46-294A-49A7-B30A-B2315553F715}" destId="{ED6B47B3-E8E0-457E-AE81-9960865A6ADF}" srcOrd="2" destOrd="0" presId="urn:microsoft.com/office/officeart/2005/8/layout/hierarchy4"/>
    <dgm:cxn modelId="{E2B02BBF-2C79-45C9-B4B8-3CF878FF3904}" type="presParOf" srcId="{ED6B47B3-E8E0-457E-AE81-9960865A6ADF}" destId="{15624F3B-1895-4B52-823A-54BED7D68C96}" srcOrd="0" destOrd="0" presId="urn:microsoft.com/office/officeart/2005/8/layout/hierarchy4"/>
    <dgm:cxn modelId="{B99527A6-284F-4861-901F-1BB68649D833}" type="presParOf" srcId="{15624F3B-1895-4B52-823A-54BED7D68C96}" destId="{2BBD0B2E-4BE4-48AC-A125-1761F93E54D0}" srcOrd="0" destOrd="0" presId="urn:microsoft.com/office/officeart/2005/8/layout/hierarchy4"/>
    <dgm:cxn modelId="{52147CF1-6422-4B58-86ED-FD37E2C05333}" type="presParOf" srcId="{15624F3B-1895-4B52-823A-54BED7D68C96}" destId="{B6D935AB-6C09-464B-8F9B-2DF172217FA9}" srcOrd="1" destOrd="0" presId="urn:microsoft.com/office/officeart/2005/8/layout/hierarchy4"/>
    <dgm:cxn modelId="{485E0118-0132-4E79-B780-F4935C9DC00C}" type="presParOf" srcId="{ED6B47B3-E8E0-457E-AE81-9960865A6ADF}" destId="{B06879F3-AC6C-40F1-8DBB-CF135CEB9770}" srcOrd="1" destOrd="0" presId="urn:microsoft.com/office/officeart/2005/8/layout/hierarchy4"/>
    <dgm:cxn modelId="{118CD669-0211-4710-932E-06EE47A6D47A}" type="presParOf" srcId="{ED6B47B3-E8E0-457E-AE81-9960865A6ADF}" destId="{0B186A5D-5DB3-4AF4-BCA8-CD369901CAD6}" srcOrd="2" destOrd="0" presId="urn:microsoft.com/office/officeart/2005/8/layout/hierarchy4"/>
    <dgm:cxn modelId="{79E0F243-42E8-4A39-B990-56B2B9CF52FA}" type="presParOf" srcId="{0B186A5D-5DB3-4AF4-BCA8-CD369901CAD6}" destId="{88F1ABA4-3573-4291-80C5-CCCD060891F4}" srcOrd="0" destOrd="0" presId="urn:microsoft.com/office/officeart/2005/8/layout/hierarchy4"/>
    <dgm:cxn modelId="{12F1CE90-E62C-4EB9-A906-DB51EEED9D9F}" type="presParOf" srcId="{0B186A5D-5DB3-4AF4-BCA8-CD369901CAD6}" destId="{8B56421F-E0C0-4619-AA40-3517D4B3DB3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5.xml><?xml version="1.0" encoding="utf-8"?>
<dgm:dataModel xmlns:dgm="http://schemas.openxmlformats.org/drawingml/2006/diagram" xmlns:a="http://schemas.openxmlformats.org/drawingml/2006/main">
  <dgm:ptLst>
    <dgm:pt modelId="{98179FEE-AD99-4ACA-935F-5EA74350364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CEB55FE-D4C3-4C96-A765-B1B2DE801E09}" type="parTrans" cxnId="{4618FC24-6C6B-4963-BEE1-FB49160B50A8}">
      <dgm:prSet/>
      <dgm:spPr/>
      <dgm:t>
        <a:bodyPr/>
        <a:lstStyle/>
        <a:p>
          <a:endParaRPr lang="en-US"/>
        </a:p>
      </dgm:t>
    </dgm:pt>
    <dgm:pt modelId="{285BBEBE-0734-4A0A-AC7C-BCC18058FA1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800" b="0" i="0" strike="noStrike" cap="none" spc="0" baseline="0" dirty="0">
              <a:solidFill>
                <a:srgbClr val="FFFFFF"/>
              </a:solidFill>
              <a:effectLst/>
              <a:latin typeface="Calibri"/>
              <a:ea typeface="Calibri"/>
              <a:cs typeface="Calibri"/>
            </a:rPr>
            <a:t>Un environnement de travail hostile peut comprendre :</a:t>
          </a:r>
          <a:endParaRPr lang="en-US" sz="2800" dirty="0"/>
        </a:p>
      </dgm:t>
    </dgm:pt>
    <dgm:pt modelId="{42D87832-43F4-4BBA-AC18-2696167CC65A}" type="parTrans" cxnId="{73183D7B-B827-4AED-BF93-F1D1B19C44A6}">
      <dgm:prSet/>
      <dgm:spPr/>
      <dgm:t>
        <a:bodyPr/>
        <a:lstStyle/>
        <a:p>
          <a:endParaRPr lang="en-US"/>
        </a:p>
      </dgm:t>
    </dgm:pt>
    <dgm:pt modelId="{30D3E5F8-452C-48F4-8796-2E567C55EECB}">
      <dgm:prSet custT="1"/>
      <dgm:spPr>
        <a:noFill/>
        <a:ln>
          <a:noFill/>
        </a:ln>
      </dgm:spPr>
      <dgm:t>
        <a:bodyPr/>
        <a:lstStyle/>
        <a:p>
          <a:r>
            <a:rPr lang="fr-CA" sz="2400" b="0" i="0" strike="noStrike" cap="none" spc="0" baseline="0" dirty="0">
              <a:solidFill>
                <a:srgbClr val="000000"/>
              </a:solidFill>
              <a:effectLst/>
              <a:latin typeface="Calibri"/>
              <a:ea typeface="Calibri"/>
              <a:cs typeface="Calibri"/>
            </a:rPr>
            <a:t>Un seul incident grave</a:t>
          </a:r>
          <a:endParaRPr lang="en-US" sz="2400" dirty="0"/>
        </a:p>
      </dgm:t>
    </dgm:pt>
    <dgm:pt modelId="{295691BB-E9F3-4CE3-9494-876350D324AA}" type="sibTrans" cxnId="{73183D7B-B827-4AED-BF93-F1D1B19C44A6}">
      <dgm:prSet/>
      <dgm:spPr/>
      <dgm:t>
        <a:bodyPr/>
        <a:lstStyle/>
        <a:p>
          <a:endParaRPr lang="en-US"/>
        </a:p>
      </dgm:t>
    </dgm:pt>
    <dgm:pt modelId="{579DADD7-F02E-4DDF-A6ED-B478DE045EC5}" type="parTrans" cxnId="{AA39C7FC-B989-4FBB-87D5-94FF7BCF5EA5}">
      <dgm:prSet/>
      <dgm:spPr/>
      <dgm:t>
        <a:bodyPr/>
        <a:lstStyle/>
        <a:p>
          <a:endParaRPr lang="en-US"/>
        </a:p>
      </dgm:t>
    </dgm:pt>
    <dgm:pt modelId="{5642C7EE-3FA5-48FC-90AC-17A317932B02}">
      <dgm:prSet custT="1"/>
      <dgm:spPr>
        <a:noFill/>
        <a:ln>
          <a:noFill/>
        </a:ln>
      </dgm:spPr>
      <dgm:t>
        <a:bodyPr/>
        <a:lstStyle/>
        <a:p>
          <a:r>
            <a:rPr lang="fr-CA" sz="2400" b="0" i="0" strike="noStrike" cap="none" spc="0" baseline="0" dirty="0">
              <a:solidFill>
                <a:srgbClr val="000000"/>
              </a:solidFill>
              <a:effectLst/>
              <a:latin typeface="Calibri"/>
              <a:ea typeface="Calibri"/>
              <a:cs typeface="Calibri"/>
            </a:rPr>
            <a:t>Un modèle d’incidents plus petits qui s’accumulent au fil du temps</a:t>
          </a:r>
          <a:endParaRPr lang="en-US" sz="2400" dirty="0"/>
        </a:p>
      </dgm:t>
    </dgm:pt>
    <dgm:pt modelId="{E3775CD1-D340-4E93-990E-06E64EF14947}" type="sibTrans" cxnId="{AA39C7FC-B989-4FBB-87D5-94FF7BCF5EA5}">
      <dgm:prSet/>
      <dgm:spPr/>
      <dgm:t>
        <a:bodyPr/>
        <a:lstStyle/>
        <a:p>
          <a:endParaRPr lang="en-US"/>
        </a:p>
      </dgm:t>
    </dgm:pt>
    <dgm:pt modelId="{CD81B35C-B2B0-4868-BBD5-6826E5EEF160}" type="sibTrans" cxnId="{4618FC24-6C6B-4963-BEE1-FB49160B50A8}">
      <dgm:prSet/>
      <dgm:spPr/>
      <dgm:t>
        <a:bodyPr/>
        <a:lstStyle/>
        <a:p>
          <a:endParaRPr lang="en-US"/>
        </a:p>
      </dgm:t>
    </dgm:pt>
    <dgm:pt modelId="{189A9E5F-C66B-4AAA-B987-7459E9AD8F08}" type="parTrans" cxnId="{204AB686-A070-4093-B8FF-ABC2826067A8}">
      <dgm:prSet/>
      <dgm:spPr/>
      <dgm:t>
        <a:bodyPr/>
        <a:lstStyle/>
        <a:p>
          <a:endParaRPr lang="en-US"/>
        </a:p>
      </dgm:t>
    </dgm:pt>
    <dgm:pt modelId="{BF4022B4-D80B-461E-98CB-999DC58D8A8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2800" b="0" i="0" strike="noStrike" cap="none" spc="0" baseline="0" dirty="0">
              <a:solidFill>
                <a:srgbClr val="FFFFFF"/>
              </a:solidFill>
              <a:effectLst/>
              <a:latin typeface="Calibri"/>
              <a:ea typeface="Calibri"/>
              <a:cs typeface="Calibri"/>
            </a:rPr>
            <a:t>Un modèle de conduite peut être invisible pour les autres </a:t>
          </a:r>
          <a:endParaRPr lang="en-US" sz="2800" dirty="0"/>
        </a:p>
      </dgm:t>
    </dgm:pt>
    <dgm:pt modelId="{B70CA4F2-DAD3-4114-9B42-94805D0B5735}" type="sibTrans" cxnId="{204AB686-A070-4093-B8FF-ABC2826067A8}">
      <dgm:prSet/>
      <dgm:spPr/>
      <dgm:t>
        <a:bodyPr/>
        <a:lstStyle/>
        <a:p>
          <a:endParaRPr lang="en-US"/>
        </a:p>
      </dgm:t>
    </dgm:pt>
    <dgm:pt modelId="{3BF44B03-DF2D-4D64-A3F2-5799B0E59223}" type="pres">
      <dgm:prSet presAssocID="{98179FEE-AD99-4ACA-935F-5EA74350364A}" presName="linear" presStyleCnt="0">
        <dgm:presLayoutVars>
          <dgm:animLvl val="lvl"/>
          <dgm:resizeHandles val="exact"/>
        </dgm:presLayoutVars>
      </dgm:prSet>
      <dgm:spPr/>
    </dgm:pt>
    <dgm:pt modelId="{9348B920-B1E0-4886-9BA5-B1554C666682}" type="pres">
      <dgm:prSet presAssocID="{285BBEBE-0734-4A0A-AC7C-BCC18058FA1C}" presName="parentText" presStyleLbl="node1" presStyleIdx="0" presStyleCnt="2">
        <dgm:presLayoutVars>
          <dgm:chMax val="0"/>
          <dgm:bulletEnabled val="1"/>
        </dgm:presLayoutVars>
      </dgm:prSet>
      <dgm:spPr/>
    </dgm:pt>
    <dgm:pt modelId="{7652FA92-FF02-4F9E-A627-EE14DD86AB00}" type="pres">
      <dgm:prSet presAssocID="{285BBEBE-0734-4A0A-AC7C-BCC18058FA1C}" presName="childText" presStyleLbl="revTx" presStyleIdx="0" presStyleCnt="1">
        <dgm:presLayoutVars>
          <dgm:bulletEnabled val="1"/>
        </dgm:presLayoutVars>
      </dgm:prSet>
      <dgm:spPr/>
    </dgm:pt>
    <dgm:pt modelId="{33BCEC26-C14D-4C1B-A0A8-57892C4646B9}" type="pres">
      <dgm:prSet presAssocID="{BF4022B4-D80B-461E-98CB-999DC58D8A83}" presName="parentText" presStyleLbl="node1" presStyleIdx="1" presStyleCnt="2">
        <dgm:presLayoutVars>
          <dgm:chMax val="0"/>
          <dgm:bulletEnabled val="1"/>
        </dgm:presLayoutVars>
      </dgm:prSet>
      <dgm:spPr/>
    </dgm:pt>
  </dgm:ptLst>
  <dgm:cxnLst>
    <dgm:cxn modelId="{4618FC24-6C6B-4963-BEE1-FB49160B50A8}" srcId="{98179FEE-AD99-4ACA-935F-5EA74350364A}" destId="{285BBEBE-0734-4A0A-AC7C-BCC18058FA1C}" srcOrd="0" destOrd="0" parTransId="{9CEB55FE-D4C3-4C96-A765-B1B2DE801E09}" sibTransId="{CD81B35C-B2B0-4868-BBD5-6826E5EEF160}"/>
    <dgm:cxn modelId="{5FDACB38-D9EE-469D-ACC0-087068514839}" type="presOf" srcId="{BF4022B4-D80B-461E-98CB-999DC58D8A83}" destId="{33BCEC26-C14D-4C1B-A0A8-57892C4646B9}" srcOrd="0" destOrd="0" presId="urn:microsoft.com/office/officeart/2005/8/layout/vList2"/>
    <dgm:cxn modelId="{73183D7B-B827-4AED-BF93-F1D1B19C44A6}" srcId="{285BBEBE-0734-4A0A-AC7C-BCC18058FA1C}" destId="{30D3E5F8-452C-48F4-8796-2E567C55EECB}" srcOrd="0" destOrd="0" parTransId="{42D87832-43F4-4BBA-AC18-2696167CC65A}" sibTransId="{295691BB-E9F3-4CE3-9494-876350D324AA}"/>
    <dgm:cxn modelId="{204AB686-A070-4093-B8FF-ABC2826067A8}" srcId="{98179FEE-AD99-4ACA-935F-5EA74350364A}" destId="{BF4022B4-D80B-461E-98CB-999DC58D8A83}" srcOrd="1" destOrd="0" parTransId="{189A9E5F-C66B-4AAA-B987-7459E9AD8F08}" sibTransId="{B70CA4F2-DAD3-4114-9B42-94805D0B5735}"/>
    <dgm:cxn modelId="{1531DA91-4B4C-4A7C-8A2D-E3E6EE90632B}" type="presOf" srcId="{5642C7EE-3FA5-48FC-90AC-17A317932B02}" destId="{7652FA92-FF02-4F9E-A627-EE14DD86AB00}" srcOrd="0" destOrd="1" presId="urn:microsoft.com/office/officeart/2005/8/layout/vList2"/>
    <dgm:cxn modelId="{0775D7A0-B3C6-43AD-90F8-44EE2F58DF7E}" type="presOf" srcId="{285BBEBE-0734-4A0A-AC7C-BCC18058FA1C}" destId="{9348B920-B1E0-4886-9BA5-B1554C666682}" srcOrd="0" destOrd="0" presId="urn:microsoft.com/office/officeart/2005/8/layout/vList2"/>
    <dgm:cxn modelId="{DA1BF6AE-A530-436F-8602-5B061EC3276E}" type="presOf" srcId="{30D3E5F8-452C-48F4-8796-2E567C55EECB}" destId="{7652FA92-FF02-4F9E-A627-EE14DD86AB00}" srcOrd="0" destOrd="0" presId="urn:microsoft.com/office/officeart/2005/8/layout/vList2"/>
    <dgm:cxn modelId="{271717E9-9A8F-4A95-B184-FA9314845193}" type="presOf" srcId="{98179FEE-AD99-4ACA-935F-5EA74350364A}" destId="{3BF44B03-DF2D-4D64-A3F2-5799B0E59223}" srcOrd="0" destOrd="0" presId="urn:microsoft.com/office/officeart/2005/8/layout/vList2"/>
    <dgm:cxn modelId="{AA39C7FC-B989-4FBB-87D5-94FF7BCF5EA5}" srcId="{285BBEBE-0734-4A0A-AC7C-BCC18058FA1C}" destId="{5642C7EE-3FA5-48FC-90AC-17A317932B02}" srcOrd="1" destOrd="0" parTransId="{579DADD7-F02E-4DDF-A6ED-B478DE045EC5}" sibTransId="{E3775CD1-D340-4E93-990E-06E64EF14947}"/>
    <dgm:cxn modelId="{D531DB5A-C185-4AC1-9867-FF9D5321F0E1}" type="presParOf" srcId="{3BF44B03-DF2D-4D64-A3F2-5799B0E59223}" destId="{9348B920-B1E0-4886-9BA5-B1554C666682}" srcOrd="0" destOrd="0" presId="urn:microsoft.com/office/officeart/2005/8/layout/vList2"/>
    <dgm:cxn modelId="{30326088-94E4-4A64-8395-F31A7B6CE99E}" type="presParOf" srcId="{3BF44B03-DF2D-4D64-A3F2-5799B0E59223}" destId="{7652FA92-FF02-4F9E-A627-EE14DD86AB00}" srcOrd="1" destOrd="0" presId="urn:microsoft.com/office/officeart/2005/8/layout/vList2"/>
    <dgm:cxn modelId="{BB351FB7-6A82-439B-A69E-BFD83CDE576A}" type="presParOf" srcId="{3BF44B03-DF2D-4D64-A3F2-5799B0E59223}" destId="{33BCEC26-C14D-4C1B-A0A8-57892C4646B9}"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6.xml><?xml version="1.0" encoding="utf-8"?>
<dgm:dataModel xmlns:dgm="http://schemas.openxmlformats.org/drawingml/2006/diagram" xmlns:a="http://schemas.openxmlformats.org/drawingml/2006/main">
  <dgm:ptLst>
    <dgm:pt modelId="{F58039EE-AE95-403B-AC13-37ADF24CD098}" type="doc">
      <dgm:prSet loTypeId="urn:microsoft.com/office/officeart/2009/3/layout/HorizontalOrganizationChart" loCatId="hierarchy" qsTypeId="urn:microsoft.com/office/officeart/2005/8/quickstyle/simple4" qsCatId="simple" csTypeId="urn:microsoft.com/office/officeart/2005/8/colors/accent1_3" csCatId="accent1" phldr="1"/>
      <dgm:spPr/>
      <dgm:t>
        <a:bodyPr/>
        <a:lstStyle/>
        <a:p>
          <a:endParaRPr lang="en-US"/>
        </a:p>
      </dgm:t>
    </dgm:pt>
    <dgm:pt modelId="{1A2282E7-E75F-4CBB-B6CA-E288DAE36888}" type="parTrans" cxnId="{6C3B530F-0CBC-47D6-91E1-CA4648BF9EB5}">
      <dgm:prSet/>
      <dgm:spPr/>
      <dgm:t>
        <a:bodyPr/>
        <a:lstStyle/>
        <a:p>
          <a:endParaRPr lang="en-US"/>
        </a:p>
      </dgm:t>
    </dgm:pt>
    <dgm:pt modelId="{4EC82B13-A762-48C6-B64B-E54C118DD79C}">
      <dgm:prSet custT="1"/>
      <dgm:spPr/>
      <dgm:t>
        <a:bodyPr/>
        <a:lstStyle/>
        <a:p>
          <a:r>
            <a:rPr lang="fr-CA" sz="2800" b="0" i="0" strike="noStrike" cap="none" spc="0" baseline="0" dirty="0">
              <a:solidFill>
                <a:srgbClr val="FFFFFF"/>
              </a:solidFill>
              <a:effectLst/>
              <a:latin typeface="Calibri"/>
              <a:ea typeface="Calibri"/>
              <a:cs typeface="Calibri"/>
            </a:rPr>
            <a:t>Les stéréotypes de genre sont des idées préconçues sur la façon dont une personne devrait être, agir ou se comporter en fonction de son sexe. </a:t>
          </a:r>
          <a:endParaRPr lang="en-US" sz="2800" dirty="0"/>
        </a:p>
      </dgm:t>
    </dgm:pt>
    <dgm:pt modelId="{CB7DC1B6-385A-4B8E-BF6A-03802530089F}" type="sibTrans" cxnId="{6C3B530F-0CBC-47D6-91E1-CA4648BF9EB5}">
      <dgm:prSet/>
      <dgm:spPr/>
      <dgm:t>
        <a:bodyPr/>
        <a:lstStyle/>
        <a:p>
          <a:endParaRPr lang="en-US"/>
        </a:p>
      </dgm:t>
    </dgm:pt>
    <dgm:pt modelId="{988ADC6B-3C2E-4E0C-89A0-794AD8D901E9}" type="parTrans" cxnId="{A7D5B3EF-DC5D-44EC-AB4E-714021026493}">
      <dgm:prSet/>
      <dgm:spPr/>
      <dgm:t>
        <a:bodyPr/>
        <a:lstStyle/>
        <a:p>
          <a:endParaRPr lang="en-US"/>
        </a:p>
      </dgm:t>
    </dgm:pt>
    <dgm:pt modelId="{C0B314DE-8C9A-4622-9124-4EAC4C631C63}">
      <dgm:prSet custT="1"/>
      <dgm:spPr/>
      <dgm:t>
        <a:bodyPr/>
        <a:lstStyle/>
        <a:p>
          <a:r>
            <a:rPr lang="fr-CA" sz="2800" b="0" i="0" strike="noStrike" cap="none" spc="0" baseline="0">
              <a:solidFill>
                <a:srgbClr val="FFFFFF"/>
              </a:solidFill>
              <a:effectLst/>
              <a:latin typeface="Calibri"/>
              <a:ea typeface="Calibri"/>
              <a:cs typeface="Calibri"/>
            </a:rPr>
            <a:t>Par exemple : Vous demandez </a:t>
          </a:r>
          <a:r>
            <a:rPr lang="fr-CA" sz="2800" b="0" i="0" u="sng" strike="noStrike" cap="none" spc="0" baseline="0">
              <a:solidFill>
                <a:srgbClr val="FFFFFF"/>
              </a:solidFill>
              <a:effectLst/>
              <a:uFill>
                <a:solidFill>
                  <a:srgbClr val="FFFFFF"/>
                </a:solidFill>
              </a:uFill>
              <a:latin typeface="Calibri"/>
              <a:ea typeface="Calibri"/>
              <a:cs typeface="Calibri"/>
            </a:rPr>
            <a:t>uniquement</a:t>
          </a:r>
          <a:r>
            <a:rPr lang="fr-CA" sz="2800" b="0" i="0" strike="noStrike" cap="none" spc="0" baseline="0">
              <a:solidFill>
                <a:srgbClr val="FFFFFF"/>
              </a:solidFill>
              <a:effectLst/>
              <a:latin typeface="Calibri"/>
              <a:ea typeface="Calibri"/>
              <a:cs typeface="Calibri"/>
            </a:rPr>
            <a:t> aux employées de prendre du café et des collations pour la salle de conférence pour la réunion à venir.</a:t>
          </a:r>
          <a:endParaRPr lang="en-US" sz="2800"/>
        </a:p>
      </dgm:t>
    </dgm:pt>
    <dgm:pt modelId="{A52C1081-60BD-40F3-8777-F01D735B8ADD}" type="sibTrans" cxnId="{A7D5B3EF-DC5D-44EC-AB4E-714021026493}">
      <dgm:prSet/>
      <dgm:spPr/>
      <dgm:t>
        <a:bodyPr/>
        <a:lstStyle/>
        <a:p>
          <a:endParaRPr lang="en-US"/>
        </a:p>
      </dgm:t>
    </dgm:pt>
    <dgm:pt modelId="{D897512D-1C5A-425D-A4CA-5FD67064C449}" type="pres">
      <dgm:prSet presAssocID="{F58039EE-AE95-403B-AC13-37ADF24CD098}" presName="hierChild1" presStyleCnt="0">
        <dgm:presLayoutVars>
          <dgm:orgChart val="1"/>
          <dgm:chPref val="1"/>
          <dgm:dir/>
          <dgm:animOne val="branch"/>
          <dgm:animLvl val="lvl"/>
          <dgm:resizeHandles/>
        </dgm:presLayoutVars>
      </dgm:prSet>
      <dgm:spPr/>
    </dgm:pt>
    <dgm:pt modelId="{2A15FFC2-0A3D-49A0-A616-0230EDFF10F9}" type="pres">
      <dgm:prSet presAssocID="{4EC82B13-A762-48C6-B64B-E54C118DD79C}" presName="hierRoot1" presStyleCnt="0">
        <dgm:presLayoutVars>
          <dgm:hierBranch val="init"/>
        </dgm:presLayoutVars>
      </dgm:prSet>
      <dgm:spPr/>
    </dgm:pt>
    <dgm:pt modelId="{19D8EA44-4891-4876-A3FD-75C069271127}" type="pres">
      <dgm:prSet presAssocID="{4EC82B13-A762-48C6-B64B-E54C118DD79C}" presName="rootComposite1" presStyleCnt="0"/>
      <dgm:spPr/>
    </dgm:pt>
    <dgm:pt modelId="{4EDE4789-F2C4-48F7-AD1A-1BC4182425B9}" type="pres">
      <dgm:prSet presAssocID="{4EC82B13-A762-48C6-B64B-E54C118DD79C}" presName="rootText1" presStyleLbl="node0" presStyleIdx="0" presStyleCnt="2">
        <dgm:presLayoutVars>
          <dgm:chPref val="3"/>
        </dgm:presLayoutVars>
      </dgm:prSet>
      <dgm:spPr/>
    </dgm:pt>
    <dgm:pt modelId="{5C8871E6-F55F-4AAC-9444-953BDC8BFF40}" type="pres">
      <dgm:prSet presAssocID="{4EC82B13-A762-48C6-B64B-E54C118DD79C}" presName="rootConnector1" presStyleLbl="node1" presStyleIdx="0" presStyleCnt="0"/>
      <dgm:spPr/>
    </dgm:pt>
    <dgm:pt modelId="{21E6A1A2-09CA-4457-8704-98B51B2825B1}" type="pres">
      <dgm:prSet presAssocID="{4EC82B13-A762-48C6-B64B-E54C118DD79C}" presName="hierChild2" presStyleCnt="0"/>
      <dgm:spPr/>
    </dgm:pt>
    <dgm:pt modelId="{08E6EC52-31E3-4246-B7D1-AE148E6A9594}" type="pres">
      <dgm:prSet presAssocID="{4EC82B13-A762-48C6-B64B-E54C118DD79C}" presName="hierChild3" presStyleCnt="0"/>
      <dgm:spPr/>
    </dgm:pt>
    <dgm:pt modelId="{641A1FB8-31EA-4400-89B2-B84BF9876F04}" type="pres">
      <dgm:prSet presAssocID="{C0B314DE-8C9A-4622-9124-4EAC4C631C63}" presName="hierRoot1" presStyleCnt="0">
        <dgm:presLayoutVars>
          <dgm:hierBranch val="init"/>
        </dgm:presLayoutVars>
      </dgm:prSet>
      <dgm:spPr/>
    </dgm:pt>
    <dgm:pt modelId="{2215DDD9-40C1-42ED-8100-DA0EF97500ED}" type="pres">
      <dgm:prSet presAssocID="{C0B314DE-8C9A-4622-9124-4EAC4C631C63}" presName="rootComposite1" presStyleCnt="0"/>
      <dgm:spPr/>
    </dgm:pt>
    <dgm:pt modelId="{C106FE37-78FC-4B91-AB63-2959EC40C132}" type="pres">
      <dgm:prSet presAssocID="{C0B314DE-8C9A-4622-9124-4EAC4C631C63}" presName="rootText1" presStyleLbl="node0" presStyleIdx="1" presStyleCnt="2">
        <dgm:presLayoutVars>
          <dgm:chPref val="3"/>
        </dgm:presLayoutVars>
      </dgm:prSet>
      <dgm:spPr/>
    </dgm:pt>
    <dgm:pt modelId="{860FFD42-6009-4881-8CA6-B334DA9A8178}" type="pres">
      <dgm:prSet presAssocID="{C0B314DE-8C9A-4622-9124-4EAC4C631C63}" presName="rootConnector1" presStyleLbl="node1" presStyleIdx="0" presStyleCnt="0"/>
      <dgm:spPr/>
    </dgm:pt>
    <dgm:pt modelId="{5CBC7A73-AC05-40F3-8431-9DC6AC782F09}" type="pres">
      <dgm:prSet presAssocID="{C0B314DE-8C9A-4622-9124-4EAC4C631C63}" presName="hierChild2" presStyleCnt="0"/>
      <dgm:spPr/>
    </dgm:pt>
    <dgm:pt modelId="{BCE2ECC5-6A04-4163-8498-00F0736A2636}" type="pres">
      <dgm:prSet presAssocID="{C0B314DE-8C9A-4622-9124-4EAC4C631C63}" presName="hierChild3" presStyleCnt="0"/>
      <dgm:spPr/>
    </dgm:pt>
  </dgm:ptLst>
  <dgm:cxnLst>
    <dgm:cxn modelId="{6C3B530F-0CBC-47D6-91E1-CA4648BF9EB5}" srcId="{F58039EE-AE95-403B-AC13-37ADF24CD098}" destId="{4EC82B13-A762-48C6-B64B-E54C118DD79C}" srcOrd="0" destOrd="0" parTransId="{1A2282E7-E75F-4CBB-B6CA-E288DAE36888}" sibTransId="{CB7DC1B6-385A-4B8E-BF6A-03802530089F}"/>
    <dgm:cxn modelId="{CB654B3D-2E08-4E74-B763-26F1A6B72388}" type="presOf" srcId="{C0B314DE-8C9A-4622-9124-4EAC4C631C63}" destId="{860FFD42-6009-4881-8CA6-B334DA9A8178}" srcOrd="1" destOrd="0" presId="urn:microsoft.com/office/officeart/2009/3/layout/HorizontalOrganizationChart"/>
    <dgm:cxn modelId="{19A45D44-612F-4EE8-BDDC-A534E5EBD81A}" type="presOf" srcId="{4EC82B13-A762-48C6-B64B-E54C118DD79C}" destId="{4EDE4789-F2C4-48F7-AD1A-1BC4182425B9}" srcOrd="0" destOrd="0" presId="urn:microsoft.com/office/officeart/2009/3/layout/HorizontalOrganizationChart"/>
    <dgm:cxn modelId="{2A076F71-F027-4CAE-A613-F3C5F2B2D766}" type="presOf" srcId="{4EC82B13-A762-48C6-B64B-E54C118DD79C}" destId="{5C8871E6-F55F-4AAC-9444-953BDC8BFF40}" srcOrd="1" destOrd="0" presId="urn:microsoft.com/office/officeart/2009/3/layout/HorizontalOrganizationChart"/>
    <dgm:cxn modelId="{A3693EC2-B319-4DE5-A781-3B5C1B3C8165}" type="presOf" srcId="{F58039EE-AE95-403B-AC13-37ADF24CD098}" destId="{D897512D-1C5A-425D-A4CA-5FD67064C449}" srcOrd="0" destOrd="0" presId="urn:microsoft.com/office/officeart/2009/3/layout/HorizontalOrganizationChart"/>
    <dgm:cxn modelId="{129A42E5-27D8-4235-8656-B1BBF4E346B9}" type="presOf" srcId="{C0B314DE-8C9A-4622-9124-4EAC4C631C63}" destId="{C106FE37-78FC-4B91-AB63-2959EC40C132}" srcOrd="0" destOrd="0" presId="urn:microsoft.com/office/officeart/2009/3/layout/HorizontalOrganizationChart"/>
    <dgm:cxn modelId="{A7D5B3EF-DC5D-44EC-AB4E-714021026493}" srcId="{F58039EE-AE95-403B-AC13-37ADF24CD098}" destId="{C0B314DE-8C9A-4622-9124-4EAC4C631C63}" srcOrd="1" destOrd="0" parTransId="{988ADC6B-3C2E-4E0C-89A0-794AD8D901E9}" sibTransId="{A52C1081-60BD-40F3-8777-F01D735B8ADD}"/>
    <dgm:cxn modelId="{38F4D05C-0EEE-4790-9F59-21D25EAAADCF}" type="presParOf" srcId="{D897512D-1C5A-425D-A4CA-5FD67064C449}" destId="{2A15FFC2-0A3D-49A0-A616-0230EDFF10F9}" srcOrd="0" destOrd="0" presId="urn:microsoft.com/office/officeart/2009/3/layout/HorizontalOrganizationChart"/>
    <dgm:cxn modelId="{4D7A2D85-E79A-4067-AE1E-8DEB176EDEB0}" type="presParOf" srcId="{2A15FFC2-0A3D-49A0-A616-0230EDFF10F9}" destId="{19D8EA44-4891-4876-A3FD-75C069271127}" srcOrd="0" destOrd="0" presId="urn:microsoft.com/office/officeart/2009/3/layout/HorizontalOrganizationChart"/>
    <dgm:cxn modelId="{5B938381-CF94-494A-87D1-1AEFBD9F9405}" type="presParOf" srcId="{19D8EA44-4891-4876-A3FD-75C069271127}" destId="{4EDE4789-F2C4-48F7-AD1A-1BC4182425B9}" srcOrd="0" destOrd="0" presId="urn:microsoft.com/office/officeart/2009/3/layout/HorizontalOrganizationChart"/>
    <dgm:cxn modelId="{89707A1A-5A71-43DD-B585-55B87E870091}" type="presParOf" srcId="{19D8EA44-4891-4876-A3FD-75C069271127}" destId="{5C8871E6-F55F-4AAC-9444-953BDC8BFF40}" srcOrd="1" destOrd="0" presId="urn:microsoft.com/office/officeart/2009/3/layout/HorizontalOrganizationChart"/>
    <dgm:cxn modelId="{0B424D4F-79F9-49A5-851C-1589AAF64C7F}" type="presParOf" srcId="{2A15FFC2-0A3D-49A0-A616-0230EDFF10F9}" destId="{21E6A1A2-09CA-4457-8704-98B51B2825B1}" srcOrd="1" destOrd="0" presId="urn:microsoft.com/office/officeart/2009/3/layout/HorizontalOrganizationChart"/>
    <dgm:cxn modelId="{E3758489-E73E-4CF8-A936-6C5B6CA94688}" type="presParOf" srcId="{2A15FFC2-0A3D-49A0-A616-0230EDFF10F9}" destId="{08E6EC52-31E3-4246-B7D1-AE148E6A9594}" srcOrd="2" destOrd="0" presId="urn:microsoft.com/office/officeart/2009/3/layout/HorizontalOrganizationChart"/>
    <dgm:cxn modelId="{643436C0-9D6F-4E37-94AC-331D5629EC75}" type="presParOf" srcId="{D897512D-1C5A-425D-A4CA-5FD67064C449}" destId="{641A1FB8-31EA-4400-89B2-B84BF9876F04}" srcOrd="1" destOrd="0" presId="urn:microsoft.com/office/officeart/2009/3/layout/HorizontalOrganizationChart"/>
    <dgm:cxn modelId="{E21130FE-C9E0-4562-84BA-B47F4F5477F9}" type="presParOf" srcId="{641A1FB8-31EA-4400-89B2-B84BF9876F04}" destId="{2215DDD9-40C1-42ED-8100-DA0EF97500ED}" srcOrd="0" destOrd="0" presId="urn:microsoft.com/office/officeart/2009/3/layout/HorizontalOrganizationChart"/>
    <dgm:cxn modelId="{678FA8FE-6C72-479D-88C1-40F52C585A70}" type="presParOf" srcId="{2215DDD9-40C1-42ED-8100-DA0EF97500ED}" destId="{C106FE37-78FC-4B91-AB63-2959EC40C132}" srcOrd="0" destOrd="0" presId="urn:microsoft.com/office/officeart/2009/3/layout/HorizontalOrganizationChart"/>
    <dgm:cxn modelId="{79B2D162-19C0-4252-A090-1EF5D15DDCEE}" type="presParOf" srcId="{2215DDD9-40C1-42ED-8100-DA0EF97500ED}" destId="{860FFD42-6009-4881-8CA6-B334DA9A8178}" srcOrd="1" destOrd="0" presId="urn:microsoft.com/office/officeart/2009/3/layout/HorizontalOrganizationChart"/>
    <dgm:cxn modelId="{B287882D-F7D7-4E36-9636-04162B367F57}" type="presParOf" srcId="{641A1FB8-31EA-4400-89B2-B84BF9876F04}" destId="{5CBC7A73-AC05-40F3-8431-9DC6AC782F09}" srcOrd="1" destOrd="0" presId="urn:microsoft.com/office/officeart/2009/3/layout/HorizontalOrganizationChart"/>
    <dgm:cxn modelId="{86837D73-D01E-4F01-905C-D2E2F0A994AB}" type="presParOf" srcId="{641A1FB8-31EA-4400-89B2-B84BF9876F04}" destId="{BCE2ECC5-6A04-4163-8498-00F0736A263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7.xml><?xml version="1.0" encoding="utf-8"?>
<dgm:dataModel xmlns:dgm="http://schemas.openxmlformats.org/drawingml/2006/diagram" xmlns:a="http://schemas.openxmlformats.org/drawingml/2006/main">
  <dgm:ptLst>
    <dgm:pt modelId="{E718AF86-2E83-4750-9E5F-A0B0CA96829B}"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ED36DBC-8D88-4B75-BECA-EC9BFD87DE2B}" type="parTrans" cxnId="{27BC3B55-075E-4B94-AE52-CC8B6D9FFCB8}">
      <dgm:prSet/>
      <dgm:spPr/>
      <dgm:t>
        <a:bodyPr/>
        <a:lstStyle/>
        <a:p>
          <a:endParaRPr lang="en-US"/>
        </a:p>
      </dgm:t>
    </dgm:pt>
    <dgm:pt modelId="{75D565E3-8336-48C4-90E3-0C9DA6803E1C}">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000" b="0" i="0" strike="noStrike" cap="none" spc="0" baseline="0" dirty="0">
              <a:solidFill>
                <a:srgbClr val="FFFFFF"/>
              </a:solidFill>
              <a:effectLst/>
              <a:latin typeface="Calibri"/>
              <a:ea typeface="Calibri"/>
              <a:cs typeface="Calibri"/>
            </a:rPr>
            <a:t>Superviseurs</a:t>
          </a:r>
          <a:endParaRPr lang="en-US" sz="3000" dirty="0"/>
        </a:p>
      </dgm:t>
    </dgm:pt>
    <dgm:pt modelId="{7336C954-45A6-45C0-A688-FBC0481332A0}" type="sibTrans" cxnId="{27BC3B55-075E-4B94-AE52-CC8B6D9FFCB8}">
      <dgm:prSet/>
      <dgm:spPr/>
      <dgm:t>
        <a:bodyPr/>
        <a:lstStyle/>
        <a:p>
          <a:endParaRPr lang="en-US"/>
        </a:p>
      </dgm:t>
    </dgm:pt>
    <dgm:pt modelId="{D6E3759B-9562-418F-A884-F46CCF2E4539}" type="parTrans" cxnId="{036C4FC4-476D-4308-A4BE-044EE41F5705}">
      <dgm:prSet/>
      <dgm:spPr/>
      <dgm:t>
        <a:bodyPr/>
        <a:lstStyle/>
        <a:p>
          <a:endParaRPr lang="en-US"/>
        </a:p>
      </dgm:t>
    </dgm:pt>
    <dgm:pt modelId="{1B8D85C5-F2D0-42D0-A7C7-595DDFBB0B94}">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000" b="0" i="0" strike="noStrike" cap="none" spc="0" baseline="0">
              <a:solidFill>
                <a:srgbClr val="FFFFFF"/>
              </a:solidFill>
              <a:effectLst/>
              <a:latin typeface="Calibri"/>
              <a:ea typeface="Calibri"/>
              <a:cs typeface="Calibri"/>
            </a:rPr>
            <a:t>Gestionnaires</a:t>
          </a:r>
          <a:endParaRPr lang="en-US" sz="3000"/>
        </a:p>
      </dgm:t>
    </dgm:pt>
    <dgm:pt modelId="{B41704BC-3399-4B98-8CBB-1C82DC8134AC}" type="sibTrans" cxnId="{036C4FC4-476D-4308-A4BE-044EE41F5705}">
      <dgm:prSet/>
      <dgm:spPr/>
      <dgm:t>
        <a:bodyPr/>
        <a:lstStyle/>
        <a:p>
          <a:endParaRPr lang="en-US"/>
        </a:p>
      </dgm:t>
    </dgm:pt>
    <dgm:pt modelId="{03350E07-5B48-4E7C-B3A5-440AC1FB5680}" type="parTrans" cxnId="{D4603426-0E98-4877-A440-015B6119A0BC}">
      <dgm:prSet/>
      <dgm:spPr/>
      <dgm:t>
        <a:bodyPr/>
        <a:lstStyle/>
        <a:p>
          <a:endParaRPr lang="en-US"/>
        </a:p>
      </dgm:t>
    </dgm:pt>
    <dgm:pt modelId="{877A83AA-B99B-4BD8-8DEC-185197AADBB9}">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600" b="0" i="0" strike="noStrike" cap="none" spc="0" baseline="0" dirty="0">
              <a:solidFill>
                <a:srgbClr val="FFFFFF"/>
              </a:solidFill>
              <a:effectLst/>
              <a:latin typeface="Calibri"/>
              <a:ea typeface="Calibri"/>
              <a:cs typeface="Calibri"/>
            </a:rPr>
            <a:t>Collègues</a:t>
          </a:r>
          <a:endParaRPr lang="en-US" dirty="0"/>
        </a:p>
      </dgm:t>
    </dgm:pt>
    <dgm:pt modelId="{50A5F10B-C1FB-4521-826D-3C55CB839AE2}" type="sibTrans" cxnId="{D4603426-0E98-4877-A440-015B6119A0BC}">
      <dgm:prSet/>
      <dgm:spPr/>
      <dgm:t>
        <a:bodyPr/>
        <a:lstStyle/>
        <a:p>
          <a:endParaRPr lang="en-US"/>
        </a:p>
      </dgm:t>
    </dgm:pt>
    <dgm:pt modelId="{5F02574E-EF70-4789-8A4E-C11738F6861A}" type="parTrans" cxnId="{4609B435-75AA-4AC2-A536-8766014C5B83}">
      <dgm:prSet/>
      <dgm:spPr/>
      <dgm:t>
        <a:bodyPr/>
        <a:lstStyle/>
        <a:p>
          <a:endParaRPr lang="en-US"/>
        </a:p>
      </dgm:t>
    </dgm:pt>
    <dgm:pt modelId="{2E3CAA22-643F-4AB0-A1DA-20BE5D846CFB}">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000" b="0" i="0" strike="noStrike" cap="none" spc="0" baseline="0">
              <a:solidFill>
                <a:srgbClr val="FFFFFF"/>
              </a:solidFill>
              <a:effectLst/>
              <a:latin typeface="Calibri"/>
              <a:ea typeface="Calibri"/>
              <a:cs typeface="Calibri"/>
            </a:rPr>
            <a:t>Fournisseurs</a:t>
          </a:r>
          <a:endParaRPr lang="en-US" sz="3000"/>
        </a:p>
      </dgm:t>
    </dgm:pt>
    <dgm:pt modelId="{7225BED6-EFE7-401D-8A32-EBCC85760333}" type="sibTrans" cxnId="{4609B435-75AA-4AC2-A536-8766014C5B83}">
      <dgm:prSet/>
      <dgm:spPr/>
      <dgm:t>
        <a:bodyPr/>
        <a:lstStyle/>
        <a:p>
          <a:endParaRPr lang="en-US"/>
        </a:p>
      </dgm:t>
    </dgm:pt>
    <dgm:pt modelId="{48AC272F-9CFB-4033-B69D-73E2EE0B7EC5}" type="parTrans" cxnId="{B429E929-4A4D-4241-A009-89482C8F8C6F}">
      <dgm:prSet/>
      <dgm:spPr/>
      <dgm:t>
        <a:bodyPr/>
        <a:lstStyle/>
        <a:p>
          <a:endParaRPr lang="en-US"/>
        </a:p>
      </dgm:t>
    </dgm:pt>
    <dgm:pt modelId="{C7781311-E474-47F5-902B-0A2B3D8FF44A}">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600" b="0" i="0" strike="noStrike" cap="none" spc="0" baseline="0">
              <a:solidFill>
                <a:srgbClr val="FFFFFF"/>
              </a:solidFill>
              <a:effectLst/>
              <a:latin typeface="Calibri"/>
              <a:ea typeface="Calibri"/>
              <a:cs typeface="Calibri"/>
            </a:rPr>
            <a:t>Clients</a:t>
          </a:r>
          <a:endParaRPr lang="en-US"/>
        </a:p>
      </dgm:t>
    </dgm:pt>
    <dgm:pt modelId="{D871D23F-569C-4FD5-AFBA-DD194F9C33FF}" type="sibTrans" cxnId="{B429E929-4A4D-4241-A009-89482C8F8C6F}">
      <dgm:prSet/>
      <dgm:spPr/>
      <dgm:t>
        <a:bodyPr/>
        <a:lstStyle/>
        <a:p>
          <a:endParaRPr lang="en-US"/>
        </a:p>
      </dgm:t>
    </dgm:pt>
    <dgm:pt modelId="{56D5179D-1EFA-4854-87D9-1B62387F6DC6}" type="parTrans" cxnId="{19C92615-7781-4DD6-8CFC-5552D37CB7EA}">
      <dgm:prSet/>
      <dgm:spPr/>
      <dgm:t>
        <a:bodyPr/>
        <a:lstStyle/>
        <a:p>
          <a:endParaRPr lang="en-US"/>
        </a:p>
      </dgm:t>
    </dgm:pt>
    <dgm:pt modelId="{4FB763E3-8A34-4199-805A-904204A5B9E8}">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3000" b="0" i="0" strike="noStrike" cap="none" spc="0" baseline="0">
              <a:solidFill>
                <a:srgbClr val="FFFFFF"/>
              </a:solidFill>
              <a:effectLst/>
              <a:latin typeface="Calibri"/>
              <a:ea typeface="Calibri"/>
              <a:cs typeface="Calibri"/>
            </a:rPr>
            <a:t>Entrepreneurs</a:t>
          </a:r>
          <a:endParaRPr lang="en-US" sz="3000"/>
        </a:p>
      </dgm:t>
    </dgm:pt>
    <dgm:pt modelId="{5D5D3307-FD81-45B6-A978-0B64D363C3ED}" type="sibTrans" cxnId="{19C92615-7781-4DD6-8CFC-5552D37CB7EA}">
      <dgm:prSet/>
      <dgm:spPr/>
      <dgm:t>
        <a:bodyPr/>
        <a:lstStyle/>
        <a:p>
          <a:endParaRPr lang="en-US"/>
        </a:p>
      </dgm:t>
    </dgm:pt>
    <dgm:pt modelId="{7B6D35E6-14FC-460A-BFCD-18027F77E34D}" type="pres">
      <dgm:prSet presAssocID="{E718AF86-2E83-4750-9E5F-A0B0CA96829B}" presName="diagram" presStyleCnt="0">
        <dgm:presLayoutVars>
          <dgm:dir/>
          <dgm:resizeHandles val="exact"/>
        </dgm:presLayoutVars>
      </dgm:prSet>
      <dgm:spPr/>
    </dgm:pt>
    <dgm:pt modelId="{BF61FA31-D264-43EA-875B-A2B7B8E7012B}" type="pres">
      <dgm:prSet presAssocID="{75D565E3-8336-48C4-90E3-0C9DA6803E1C}" presName="node" presStyleLbl="node1" presStyleIdx="0" presStyleCnt="6">
        <dgm:presLayoutVars>
          <dgm:bulletEnabled val="1"/>
        </dgm:presLayoutVars>
      </dgm:prSet>
      <dgm:spPr/>
    </dgm:pt>
    <dgm:pt modelId="{3A618FCC-9271-4F94-9C7F-8E0070B1CDA1}" type="pres">
      <dgm:prSet presAssocID="{7336C954-45A6-45C0-A688-FBC0481332A0}" presName="sibTrans" presStyleCnt="0"/>
      <dgm:spPr/>
    </dgm:pt>
    <dgm:pt modelId="{4573CE03-A660-44F7-B0C8-0BF6532B8A05}" type="pres">
      <dgm:prSet presAssocID="{1B8D85C5-F2D0-42D0-A7C7-595DDFBB0B94}" presName="node" presStyleLbl="node1" presStyleIdx="1" presStyleCnt="6">
        <dgm:presLayoutVars>
          <dgm:bulletEnabled val="1"/>
        </dgm:presLayoutVars>
      </dgm:prSet>
      <dgm:spPr/>
    </dgm:pt>
    <dgm:pt modelId="{C2F10033-87C7-49C0-930D-446DCB2C20C3}" type="pres">
      <dgm:prSet presAssocID="{B41704BC-3399-4B98-8CBB-1C82DC8134AC}" presName="sibTrans" presStyleCnt="0"/>
      <dgm:spPr/>
    </dgm:pt>
    <dgm:pt modelId="{7D292785-63DD-40E5-BF38-3BDE0B2D1FB7}" type="pres">
      <dgm:prSet presAssocID="{877A83AA-B99B-4BD8-8DEC-185197AADBB9}" presName="node" presStyleLbl="node1" presStyleIdx="2" presStyleCnt="6">
        <dgm:presLayoutVars>
          <dgm:bulletEnabled val="1"/>
        </dgm:presLayoutVars>
      </dgm:prSet>
      <dgm:spPr/>
    </dgm:pt>
    <dgm:pt modelId="{9833DF5B-68D5-41F6-A523-9A5678394E58}" type="pres">
      <dgm:prSet presAssocID="{50A5F10B-C1FB-4521-826D-3C55CB839AE2}" presName="sibTrans" presStyleCnt="0"/>
      <dgm:spPr/>
    </dgm:pt>
    <dgm:pt modelId="{8E5F5894-71D7-4AD0-AB3F-825397E67428}" type="pres">
      <dgm:prSet presAssocID="{2E3CAA22-643F-4AB0-A1DA-20BE5D846CFB}" presName="node" presStyleLbl="node1" presStyleIdx="3" presStyleCnt="6">
        <dgm:presLayoutVars>
          <dgm:bulletEnabled val="1"/>
        </dgm:presLayoutVars>
      </dgm:prSet>
      <dgm:spPr/>
    </dgm:pt>
    <dgm:pt modelId="{8ABC1043-C70B-4802-972F-E92D28931A33}" type="pres">
      <dgm:prSet presAssocID="{7225BED6-EFE7-401D-8A32-EBCC85760333}" presName="sibTrans" presStyleCnt="0"/>
      <dgm:spPr/>
    </dgm:pt>
    <dgm:pt modelId="{41438514-9CE3-4267-8433-2A509C733917}" type="pres">
      <dgm:prSet presAssocID="{C7781311-E474-47F5-902B-0A2B3D8FF44A}" presName="node" presStyleLbl="node1" presStyleIdx="4" presStyleCnt="6">
        <dgm:presLayoutVars>
          <dgm:bulletEnabled val="1"/>
        </dgm:presLayoutVars>
      </dgm:prSet>
      <dgm:spPr/>
    </dgm:pt>
    <dgm:pt modelId="{64659242-38B6-43C3-988D-CA767345F9FA}" type="pres">
      <dgm:prSet presAssocID="{D871D23F-569C-4FD5-AFBA-DD194F9C33FF}" presName="sibTrans" presStyleCnt="0"/>
      <dgm:spPr/>
    </dgm:pt>
    <dgm:pt modelId="{CD7FF0B3-454C-4F5A-9542-9E88E96578B7}" type="pres">
      <dgm:prSet presAssocID="{4FB763E3-8A34-4199-805A-904204A5B9E8}" presName="node" presStyleLbl="node1" presStyleIdx="5" presStyleCnt="6">
        <dgm:presLayoutVars>
          <dgm:bulletEnabled val="1"/>
        </dgm:presLayoutVars>
      </dgm:prSet>
      <dgm:spPr/>
    </dgm:pt>
  </dgm:ptLst>
  <dgm:cxnLst>
    <dgm:cxn modelId="{F8EE1606-018A-497B-B87C-16551170BE26}" type="presOf" srcId="{1B8D85C5-F2D0-42D0-A7C7-595DDFBB0B94}" destId="{4573CE03-A660-44F7-B0C8-0BF6532B8A05}" srcOrd="0" destOrd="0" presId="urn:microsoft.com/office/officeart/2005/8/layout/default"/>
    <dgm:cxn modelId="{19C92615-7781-4DD6-8CFC-5552D37CB7EA}" srcId="{E718AF86-2E83-4750-9E5F-A0B0CA96829B}" destId="{4FB763E3-8A34-4199-805A-904204A5B9E8}" srcOrd="5" destOrd="0" parTransId="{56D5179D-1EFA-4854-87D9-1B62387F6DC6}" sibTransId="{5D5D3307-FD81-45B6-A978-0B64D363C3ED}"/>
    <dgm:cxn modelId="{D4603426-0E98-4877-A440-015B6119A0BC}" srcId="{E718AF86-2E83-4750-9E5F-A0B0CA96829B}" destId="{877A83AA-B99B-4BD8-8DEC-185197AADBB9}" srcOrd="2" destOrd="0" parTransId="{03350E07-5B48-4E7C-B3A5-440AC1FB5680}" sibTransId="{50A5F10B-C1FB-4521-826D-3C55CB839AE2}"/>
    <dgm:cxn modelId="{B429E929-4A4D-4241-A009-89482C8F8C6F}" srcId="{E718AF86-2E83-4750-9E5F-A0B0CA96829B}" destId="{C7781311-E474-47F5-902B-0A2B3D8FF44A}" srcOrd="4" destOrd="0" parTransId="{48AC272F-9CFB-4033-B69D-73E2EE0B7EC5}" sibTransId="{D871D23F-569C-4FD5-AFBA-DD194F9C33FF}"/>
    <dgm:cxn modelId="{4609B435-75AA-4AC2-A536-8766014C5B83}" srcId="{E718AF86-2E83-4750-9E5F-A0B0CA96829B}" destId="{2E3CAA22-643F-4AB0-A1DA-20BE5D846CFB}" srcOrd="3" destOrd="0" parTransId="{5F02574E-EF70-4789-8A4E-C11738F6861A}" sibTransId="{7225BED6-EFE7-401D-8A32-EBCC85760333}"/>
    <dgm:cxn modelId="{27BC3B55-075E-4B94-AE52-CC8B6D9FFCB8}" srcId="{E718AF86-2E83-4750-9E5F-A0B0CA96829B}" destId="{75D565E3-8336-48C4-90E3-0C9DA6803E1C}" srcOrd="0" destOrd="0" parTransId="{FED36DBC-8D88-4B75-BECA-EC9BFD87DE2B}" sibTransId="{7336C954-45A6-45C0-A688-FBC0481332A0}"/>
    <dgm:cxn modelId="{A72371A9-383E-4B76-BAA4-4715F3A447EA}" type="presOf" srcId="{E718AF86-2E83-4750-9E5F-A0B0CA96829B}" destId="{7B6D35E6-14FC-460A-BFCD-18027F77E34D}" srcOrd="0" destOrd="0" presId="urn:microsoft.com/office/officeart/2005/8/layout/default"/>
    <dgm:cxn modelId="{829B86A9-2E79-4C63-A6E0-C9CC124C6EEF}" type="presOf" srcId="{C7781311-E474-47F5-902B-0A2B3D8FF44A}" destId="{41438514-9CE3-4267-8433-2A509C733917}" srcOrd="0" destOrd="0" presId="urn:microsoft.com/office/officeart/2005/8/layout/default"/>
    <dgm:cxn modelId="{1895BDBD-3A4B-40D8-91BE-0E85730468CF}" type="presOf" srcId="{877A83AA-B99B-4BD8-8DEC-185197AADBB9}" destId="{7D292785-63DD-40E5-BF38-3BDE0B2D1FB7}" srcOrd="0" destOrd="0" presId="urn:microsoft.com/office/officeart/2005/8/layout/default"/>
    <dgm:cxn modelId="{7B6B6CC2-F921-4F66-865D-AB3452AFD305}" type="presOf" srcId="{75D565E3-8336-48C4-90E3-0C9DA6803E1C}" destId="{BF61FA31-D264-43EA-875B-A2B7B8E7012B}" srcOrd="0" destOrd="0" presId="urn:microsoft.com/office/officeart/2005/8/layout/default"/>
    <dgm:cxn modelId="{036C4FC4-476D-4308-A4BE-044EE41F5705}" srcId="{E718AF86-2E83-4750-9E5F-A0B0CA96829B}" destId="{1B8D85C5-F2D0-42D0-A7C7-595DDFBB0B94}" srcOrd="1" destOrd="0" parTransId="{D6E3759B-9562-418F-A884-F46CCF2E4539}" sibTransId="{B41704BC-3399-4B98-8CBB-1C82DC8134AC}"/>
    <dgm:cxn modelId="{6933B5D8-0B7C-4E14-B563-0D48D070BB65}" type="presOf" srcId="{2E3CAA22-643F-4AB0-A1DA-20BE5D846CFB}" destId="{8E5F5894-71D7-4AD0-AB3F-825397E67428}" srcOrd="0" destOrd="0" presId="urn:microsoft.com/office/officeart/2005/8/layout/default"/>
    <dgm:cxn modelId="{44EC37E2-A64C-459E-AC78-158615B85122}" type="presOf" srcId="{4FB763E3-8A34-4199-805A-904204A5B9E8}" destId="{CD7FF0B3-454C-4F5A-9542-9E88E96578B7}" srcOrd="0" destOrd="0" presId="urn:microsoft.com/office/officeart/2005/8/layout/default"/>
    <dgm:cxn modelId="{6E941495-8BC2-4386-937F-FD84E77BDD78}" type="presParOf" srcId="{7B6D35E6-14FC-460A-BFCD-18027F77E34D}" destId="{BF61FA31-D264-43EA-875B-A2B7B8E7012B}" srcOrd="0" destOrd="0" presId="urn:microsoft.com/office/officeart/2005/8/layout/default"/>
    <dgm:cxn modelId="{4C1D2B28-D0B6-4750-8AEB-A8469163EC9C}" type="presParOf" srcId="{7B6D35E6-14FC-460A-BFCD-18027F77E34D}" destId="{3A618FCC-9271-4F94-9C7F-8E0070B1CDA1}" srcOrd="1" destOrd="0" presId="urn:microsoft.com/office/officeart/2005/8/layout/default"/>
    <dgm:cxn modelId="{FF39193B-8BB3-4949-8319-B76DBB9A29D6}" type="presParOf" srcId="{7B6D35E6-14FC-460A-BFCD-18027F77E34D}" destId="{4573CE03-A660-44F7-B0C8-0BF6532B8A05}" srcOrd="2" destOrd="0" presId="urn:microsoft.com/office/officeart/2005/8/layout/default"/>
    <dgm:cxn modelId="{FA32C67A-AA29-4DB6-95F1-6E4DDC278E96}" type="presParOf" srcId="{7B6D35E6-14FC-460A-BFCD-18027F77E34D}" destId="{C2F10033-87C7-49C0-930D-446DCB2C20C3}" srcOrd="3" destOrd="0" presId="urn:microsoft.com/office/officeart/2005/8/layout/default"/>
    <dgm:cxn modelId="{77E3A5A7-F732-4F4B-9BC1-E74308477347}" type="presParOf" srcId="{7B6D35E6-14FC-460A-BFCD-18027F77E34D}" destId="{7D292785-63DD-40E5-BF38-3BDE0B2D1FB7}" srcOrd="4" destOrd="0" presId="urn:microsoft.com/office/officeart/2005/8/layout/default"/>
    <dgm:cxn modelId="{BB5A864B-CE2B-467E-83C1-A889967B855B}" type="presParOf" srcId="{7B6D35E6-14FC-460A-BFCD-18027F77E34D}" destId="{9833DF5B-68D5-41F6-A523-9A5678394E58}" srcOrd="5" destOrd="0" presId="urn:microsoft.com/office/officeart/2005/8/layout/default"/>
    <dgm:cxn modelId="{B3120397-9B78-4869-AC38-AAFA757BBEE4}" type="presParOf" srcId="{7B6D35E6-14FC-460A-BFCD-18027F77E34D}" destId="{8E5F5894-71D7-4AD0-AB3F-825397E67428}" srcOrd="6" destOrd="0" presId="urn:microsoft.com/office/officeart/2005/8/layout/default"/>
    <dgm:cxn modelId="{A52AF52D-FB56-4B88-B248-E1079D77B05C}" type="presParOf" srcId="{7B6D35E6-14FC-460A-BFCD-18027F77E34D}" destId="{8ABC1043-C70B-4802-972F-E92D28931A33}" srcOrd="7" destOrd="0" presId="urn:microsoft.com/office/officeart/2005/8/layout/default"/>
    <dgm:cxn modelId="{B3DF3682-FCBE-452E-A1AA-7F5ABB813104}" type="presParOf" srcId="{7B6D35E6-14FC-460A-BFCD-18027F77E34D}" destId="{41438514-9CE3-4267-8433-2A509C733917}" srcOrd="8" destOrd="0" presId="urn:microsoft.com/office/officeart/2005/8/layout/default"/>
    <dgm:cxn modelId="{F4B2CB95-19FE-4DA2-91AA-55B6E72C1097}" type="presParOf" srcId="{7B6D35E6-14FC-460A-BFCD-18027F77E34D}" destId="{64659242-38B6-43C3-988D-CA767345F9FA}" srcOrd="9" destOrd="0" presId="urn:microsoft.com/office/officeart/2005/8/layout/default"/>
    <dgm:cxn modelId="{3AD543FF-D662-4265-867F-18921039ECD3}" type="presParOf" srcId="{7B6D35E6-14FC-460A-BFCD-18027F77E34D}" destId="{CD7FF0B3-454C-4F5A-9542-9E88E96578B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8.xml><?xml version="1.0" encoding="utf-8"?>
<dgm:dataModel xmlns:dgm="http://schemas.openxmlformats.org/drawingml/2006/diagram" xmlns:a="http://schemas.openxmlformats.org/drawingml/2006/main">
  <dgm:ptLst>
    <dgm:pt modelId="{0C05A7D9-4B26-493B-AD17-CF6F474D260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53147A8-9B94-4655-872A-C321ED63F359}" type="parTrans" cxnId="{1A1419A7-6DE0-4547-9A7F-A05F3D6E20BD}">
      <dgm:prSet/>
      <dgm:spPr/>
      <dgm:t>
        <a:bodyPr/>
        <a:lstStyle/>
        <a:p>
          <a:endParaRPr lang="en-US"/>
        </a:p>
      </dgm:t>
    </dgm:pt>
    <dgm:pt modelId="{D1140553-0F2C-4E08-A6D7-E9695769881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Conduite visuelle </a:t>
          </a:r>
        </a:p>
      </dgm:t>
    </dgm:pt>
    <dgm:pt modelId="{6EE0849C-BC16-44AE-B4F4-4E3885699EAF}" type="parTrans" cxnId="{86F1EF94-C27A-4EBB-8A3E-A4BCC3E627B6}">
      <dgm:prSet/>
      <dgm:spPr/>
      <dgm:t>
        <a:bodyPr/>
        <a:lstStyle/>
        <a:p>
          <a:endParaRPr lang="en-US"/>
        </a:p>
      </dgm:t>
    </dgm:pt>
    <dgm:pt modelId="{7AD47BAE-9CB4-432C-9257-ACCCDE15C00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Encourager, faire des gestes sexuels</a:t>
          </a:r>
        </a:p>
      </dgm:t>
    </dgm:pt>
    <dgm:pt modelId="{B2C67109-4C19-4CF1-A362-DDEA36B3260E}" type="sibTrans" cxnId="{86F1EF94-C27A-4EBB-8A3E-A4BCC3E627B6}">
      <dgm:prSet/>
      <dgm:spPr/>
      <dgm:t>
        <a:bodyPr/>
        <a:lstStyle/>
        <a:p>
          <a:endParaRPr lang="en-US"/>
        </a:p>
      </dgm:t>
    </dgm:pt>
    <dgm:pt modelId="{B0B1209E-36A1-4E04-98E3-7E1EE65124D5}" type="parTrans" cxnId="{84735FE3-B9C6-4347-85DD-2269BE313205}">
      <dgm:prSet/>
      <dgm:spPr/>
      <dgm:t>
        <a:bodyPr/>
        <a:lstStyle/>
        <a:p>
          <a:endParaRPr lang="en-US"/>
        </a:p>
      </dgm:t>
    </dgm:pt>
    <dgm:pt modelId="{424F1DCF-E6C8-484E-BBFE-3FD4CF2C4D5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dirty="0">
              <a:solidFill>
                <a:srgbClr val="FFFFFF"/>
              </a:solidFill>
              <a:effectLst/>
              <a:latin typeface="Calibri"/>
              <a:ea typeface="Calibri"/>
              <a:cs typeface="Calibri"/>
            </a:rPr>
            <a:t>Affichage d’objets, d’images, de dessins animés ou d’affiches suggestifs sous forme imprimée ou numérique</a:t>
          </a:r>
        </a:p>
      </dgm:t>
    </dgm:pt>
    <dgm:pt modelId="{5519A9E2-41C9-4E39-8BED-4C67155F3D79}" type="sibTrans" cxnId="{84735FE3-B9C6-4347-85DD-2269BE313205}">
      <dgm:prSet/>
      <dgm:spPr/>
      <dgm:t>
        <a:bodyPr/>
        <a:lstStyle/>
        <a:p>
          <a:endParaRPr lang="en-US"/>
        </a:p>
      </dgm:t>
    </dgm:pt>
    <dgm:pt modelId="{7317062B-F1CA-45AF-ACEC-CF8A4966C4E7}" type="sibTrans" cxnId="{1A1419A7-6DE0-4547-9A7F-A05F3D6E20BD}">
      <dgm:prSet/>
      <dgm:spPr/>
      <dgm:t>
        <a:bodyPr/>
        <a:lstStyle/>
        <a:p>
          <a:endParaRPr lang="en-US"/>
        </a:p>
      </dgm:t>
    </dgm:pt>
    <dgm:pt modelId="{01509BDB-23A7-4E1A-8EE1-9B1BA783FFD5}" type="parTrans" cxnId="{146526A4-DA68-47B8-993B-C939C6F5118E}">
      <dgm:prSet/>
      <dgm:spPr/>
      <dgm:t>
        <a:bodyPr/>
        <a:lstStyle/>
        <a:p>
          <a:endParaRPr lang="en-US"/>
        </a:p>
      </dgm:t>
    </dgm:pt>
    <dgm:pt modelId="{03ADAECB-047A-46F4-9200-A29E2B53805A}">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Conduite physique</a:t>
          </a:r>
        </a:p>
      </dgm:t>
    </dgm:pt>
    <dgm:pt modelId="{7D4D8014-F1DB-411D-A99F-000FBF67510A}" type="parTrans" cxnId="{3D44FBCE-719C-4E38-9D14-79D86B90AE5A}">
      <dgm:prSet/>
      <dgm:spPr/>
      <dgm:t>
        <a:bodyPr/>
        <a:lstStyle/>
        <a:p>
          <a:endParaRPr lang="en-US"/>
        </a:p>
      </dgm:t>
    </dgm:pt>
    <dgm:pt modelId="{700502CC-08DF-4A38-B06C-7BAE4529CD0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Toucher, étreindre ou masser</a:t>
          </a:r>
        </a:p>
      </dgm:t>
    </dgm:pt>
    <dgm:pt modelId="{3AA66E2B-C7F4-4738-B0C6-89117339686D}" type="sibTrans" cxnId="{3D44FBCE-719C-4E38-9D14-79D86B90AE5A}">
      <dgm:prSet/>
      <dgm:spPr/>
      <dgm:t>
        <a:bodyPr/>
        <a:lstStyle/>
        <a:p>
          <a:endParaRPr lang="en-US"/>
        </a:p>
      </dgm:t>
    </dgm:pt>
    <dgm:pt modelId="{9B816D66-BCA5-4EB0-97D2-6A6E68BCB7D8}" type="parTrans" cxnId="{003341B0-2573-45BF-8769-62AF9E74BC57}">
      <dgm:prSet/>
      <dgm:spPr/>
      <dgm:t>
        <a:bodyPr/>
        <a:lstStyle/>
        <a:p>
          <a:endParaRPr lang="en-US"/>
        </a:p>
      </dgm:t>
    </dgm:pt>
    <dgm:pt modelId="{AAABA161-B816-48FE-9FF6-403447916EF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Agression</a:t>
          </a:r>
        </a:p>
      </dgm:t>
    </dgm:pt>
    <dgm:pt modelId="{CAF8154D-B656-4A60-911E-7D35FB8AFDAF}" type="sibTrans" cxnId="{003341B0-2573-45BF-8769-62AF9E74BC57}">
      <dgm:prSet/>
      <dgm:spPr/>
      <dgm:t>
        <a:bodyPr/>
        <a:lstStyle/>
        <a:p>
          <a:endParaRPr lang="en-US"/>
        </a:p>
      </dgm:t>
    </dgm:pt>
    <dgm:pt modelId="{7136BF63-0206-4684-85AB-24B66306CC42}" type="parTrans" cxnId="{249459D0-52DE-47AC-8305-F5DAB0102D43}">
      <dgm:prSet/>
      <dgm:spPr/>
      <dgm:t>
        <a:bodyPr/>
        <a:lstStyle/>
        <a:p>
          <a:endParaRPr lang="en-US"/>
        </a:p>
      </dgm:t>
    </dgm:pt>
    <dgm:pt modelId="{6145CC65-493A-459B-864E-BE0291E3B59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Empêcher ou bloquer les mouvements </a:t>
          </a:r>
        </a:p>
      </dgm:t>
    </dgm:pt>
    <dgm:pt modelId="{72680BB3-04FA-41D0-987B-EFEBFE9E86BA}" type="sibTrans" cxnId="{249459D0-52DE-47AC-8305-F5DAB0102D43}">
      <dgm:prSet/>
      <dgm:spPr/>
      <dgm:t>
        <a:bodyPr/>
        <a:lstStyle/>
        <a:p>
          <a:endParaRPr lang="en-US"/>
        </a:p>
      </dgm:t>
    </dgm:pt>
    <dgm:pt modelId="{CDCDB1D1-BFA5-4418-9B98-B885AF47B3A5}" type="sibTrans" cxnId="{146526A4-DA68-47B8-993B-C939C6F5118E}">
      <dgm:prSet/>
      <dgm:spPr/>
      <dgm:t>
        <a:bodyPr/>
        <a:lstStyle/>
        <a:p>
          <a:endParaRPr lang="en-US"/>
        </a:p>
      </dgm:t>
    </dgm:pt>
    <dgm:pt modelId="{998E800D-ECE1-4951-9960-7BDD393DF063}" type="parTrans" cxnId="{13BFAA81-4AC7-4FC3-94A1-BEAD2CF5432B}">
      <dgm:prSet/>
      <dgm:spPr/>
      <dgm:t>
        <a:bodyPr/>
        <a:lstStyle/>
        <a:p>
          <a:endParaRPr lang="en-US"/>
        </a:p>
      </dgm:t>
    </dgm:pt>
    <dgm:pt modelId="{E826FA2F-8DF9-4F84-A929-4F0DA138E06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Conduite verbale </a:t>
          </a:r>
        </a:p>
      </dgm:t>
    </dgm:pt>
    <dgm:pt modelId="{E1A01D08-2A2A-4288-9A6B-4683DB5B102E}" type="parTrans" cxnId="{48D4433D-98EC-4B95-B187-C6008CA6BA4A}">
      <dgm:prSet/>
      <dgm:spPr/>
      <dgm:t>
        <a:bodyPr/>
        <a:lstStyle/>
        <a:p>
          <a:endParaRPr lang="en-US"/>
        </a:p>
      </dgm:t>
    </dgm:pt>
    <dgm:pt modelId="{9BBEF1E3-0CAD-46F1-A1A7-FDD1D2E9A00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Faire ou utiliser des commentaires, insultes ou blagues désobligeants en personne ou par message texte, courriel ou message</a:t>
          </a:r>
        </a:p>
      </dgm:t>
    </dgm:pt>
    <dgm:pt modelId="{2F4CA838-9D64-4D04-B928-E4E177D2EFFC}" type="sibTrans" cxnId="{48D4433D-98EC-4B95-B187-C6008CA6BA4A}">
      <dgm:prSet/>
      <dgm:spPr/>
      <dgm:t>
        <a:bodyPr/>
        <a:lstStyle/>
        <a:p>
          <a:endParaRPr lang="en-US"/>
        </a:p>
      </dgm:t>
    </dgm:pt>
    <dgm:pt modelId="{8014555A-0CB7-4C34-ACAE-613E5E6AC076}" type="parTrans" cxnId="{5785380C-B4C9-404C-BF2B-F46CA48CD461}">
      <dgm:prSet/>
      <dgm:spPr/>
      <dgm:t>
        <a:bodyPr/>
        <a:lstStyle/>
        <a:p>
          <a:endParaRPr lang="en-US"/>
        </a:p>
      </dgm:t>
    </dgm:pt>
    <dgm:pt modelId="{D83BCC78-D56C-40B2-A4E9-119D217BB84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Avances ou propositions sexuelles verbales</a:t>
          </a:r>
        </a:p>
      </dgm:t>
    </dgm:pt>
    <dgm:pt modelId="{42890CFE-C418-459F-93F0-D743808833AF}" type="sibTrans" cxnId="{5785380C-B4C9-404C-BF2B-F46CA48CD461}">
      <dgm:prSet/>
      <dgm:spPr/>
      <dgm:t>
        <a:bodyPr/>
        <a:lstStyle/>
        <a:p>
          <a:endParaRPr lang="en-US"/>
        </a:p>
      </dgm:t>
    </dgm:pt>
    <dgm:pt modelId="{D17DCF28-A149-41C4-8F81-35A18B015B57}" type="parTrans" cxnId="{647268B4-6B7E-4795-B66A-66D49FE9AB0C}">
      <dgm:prSet/>
      <dgm:spPr/>
      <dgm:t>
        <a:bodyPr/>
        <a:lstStyle/>
        <a:p>
          <a:endParaRPr lang="en-US"/>
        </a:p>
      </dgm:t>
    </dgm:pt>
    <dgm:pt modelId="{C15B46CF-86A6-42D1-A495-80BDE3CACF5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Abus verbal de nature sexuelle</a:t>
          </a:r>
        </a:p>
      </dgm:t>
    </dgm:pt>
    <dgm:pt modelId="{04EE481C-7495-40CE-950B-C4EB510C5DC1}" type="sibTrans" cxnId="{647268B4-6B7E-4795-B66A-66D49FE9AB0C}">
      <dgm:prSet/>
      <dgm:spPr/>
      <dgm:t>
        <a:bodyPr/>
        <a:lstStyle/>
        <a:p>
          <a:endParaRPr lang="en-US"/>
        </a:p>
      </dgm:t>
    </dgm:pt>
    <dgm:pt modelId="{1C4B42A5-C5B7-4CE0-B56D-8D3A89CD9A8B}" type="parTrans" cxnId="{0C8D72CC-FD2E-40D0-A2E4-3B43ADCC471F}">
      <dgm:prSet/>
      <dgm:spPr/>
      <dgm:t>
        <a:bodyPr/>
        <a:lstStyle/>
        <a:p>
          <a:endParaRPr lang="en-US"/>
        </a:p>
      </dgm:t>
    </dgm:pt>
    <dgm:pt modelId="{9318EE55-3B8D-40BB-B3DD-4011988411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Commentaires verbaux graphiques sur le corps d’une personne</a:t>
          </a:r>
        </a:p>
      </dgm:t>
    </dgm:pt>
    <dgm:pt modelId="{56FEB4AC-12D6-48A4-92FD-11F459ACEE29}" type="sibTrans" cxnId="{0C8D72CC-FD2E-40D0-A2E4-3B43ADCC471F}">
      <dgm:prSet/>
      <dgm:spPr/>
      <dgm:t>
        <a:bodyPr/>
        <a:lstStyle/>
        <a:p>
          <a:endParaRPr lang="en-US"/>
        </a:p>
      </dgm:t>
    </dgm:pt>
    <dgm:pt modelId="{544ED2F1-447B-4D28-B908-B8AA40785393}" type="parTrans" cxnId="{8958198B-C668-44C5-B165-14F286A24A69}">
      <dgm:prSet/>
      <dgm:spPr/>
      <dgm:t>
        <a:bodyPr/>
        <a:lstStyle/>
        <a:p>
          <a:endParaRPr lang="en-US"/>
        </a:p>
      </dgm:t>
    </dgm:pt>
    <dgm:pt modelId="{70B2DF44-34FC-4788-9FB5-6B334345058D}">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fr-CA" sz="1600" b="0" i="0" strike="noStrike" cap="none" spc="0" baseline="0">
              <a:solidFill>
                <a:srgbClr val="FFFFFF"/>
              </a:solidFill>
              <a:effectLst/>
              <a:latin typeface="Calibri"/>
              <a:ea typeface="Calibri"/>
              <a:cs typeface="Calibri"/>
            </a:rPr>
            <a:t>Des mots sexuellement dégradants utilisés pour décrire une personne, des lettres, des notes ou des invitations suggestives ou obscènes</a:t>
          </a:r>
        </a:p>
      </dgm:t>
    </dgm:pt>
    <dgm:pt modelId="{FBB0510E-F978-4063-8359-F3B0AA0F5613}" type="sibTrans" cxnId="{8958198B-C668-44C5-B165-14F286A24A69}">
      <dgm:prSet/>
      <dgm:spPr/>
      <dgm:t>
        <a:bodyPr/>
        <a:lstStyle/>
        <a:p>
          <a:endParaRPr lang="en-US"/>
        </a:p>
      </dgm:t>
    </dgm:pt>
    <dgm:pt modelId="{ADE3DF73-07D5-4C55-842D-35766D1190D0}" type="sibTrans" cxnId="{13BFAA81-4AC7-4FC3-94A1-BEAD2CF5432B}">
      <dgm:prSet/>
      <dgm:spPr/>
      <dgm:t>
        <a:bodyPr/>
        <a:lstStyle/>
        <a:p>
          <a:endParaRPr lang="en-US"/>
        </a:p>
      </dgm:t>
    </dgm:pt>
    <dgm:pt modelId="{4C92CBA6-378A-4AC4-8B81-EBCFC25998B5}" type="pres">
      <dgm:prSet presAssocID="{0C05A7D9-4B26-493B-AD17-CF6F474D2605}" presName="diagram" presStyleCnt="0">
        <dgm:presLayoutVars>
          <dgm:dir/>
          <dgm:resizeHandles val="exact"/>
        </dgm:presLayoutVars>
      </dgm:prSet>
      <dgm:spPr/>
    </dgm:pt>
    <dgm:pt modelId="{EA286E4F-7206-4C05-AD55-DC212A1A5DC4}" type="pres">
      <dgm:prSet presAssocID="{D1140553-0F2C-4E08-A6D7-E96957698816}" presName="node" presStyleLbl="node1" presStyleIdx="0" presStyleCnt="3" custScaleY="76964">
        <dgm:presLayoutVars>
          <dgm:bulletEnabled val="1"/>
        </dgm:presLayoutVars>
      </dgm:prSet>
      <dgm:spPr/>
    </dgm:pt>
    <dgm:pt modelId="{F80C4730-0173-4C1A-9B71-4C9F48B5C63F}" type="pres">
      <dgm:prSet presAssocID="{7317062B-F1CA-45AF-ACEC-CF8A4966C4E7}" presName="sibTrans" presStyleCnt="0"/>
      <dgm:spPr/>
    </dgm:pt>
    <dgm:pt modelId="{988B99C9-8C3B-43DD-B195-DE7699CD3887}" type="pres">
      <dgm:prSet presAssocID="{03ADAECB-047A-46F4-9200-A29E2B53805A}" presName="node" presStyleLbl="node1" presStyleIdx="1" presStyleCnt="3" custScaleY="72244">
        <dgm:presLayoutVars>
          <dgm:bulletEnabled val="1"/>
        </dgm:presLayoutVars>
      </dgm:prSet>
      <dgm:spPr/>
    </dgm:pt>
    <dgm:pt modelId="{8757694E-B58D-42BB-9481-BBB0585FB9A2}" type="pres">
      <dgm:prSet presAssocID="{CDCDB1D1-BFA5-4418-9B98-B885AF47B3A5}" presName="sibTrans" presStyleCnt="0"/>
      <dgm:spPr/>
    </dgm:pt>
    <dgm:pt modelId="{66092D74-200C-439C-BC45-FB0319721481}" type="pres">
      <dgm:prSet presAssocID="{E826FA2F-8DF9-4F84-A929-4F0DA138E063}" presName="node" presStyleLbl="node1" presStyleIdx="2" presStyleCnt="3" custScaleX="181097" custScaleY="106337">
        <dgm:presLayoutVars>
          <dgm:bulletEnabled val="1"/>
        </dgm:presLayoutVars>
      </dgm:prSet>
      <dgm:spPr/>
    </dgm:pt>
  </dgm:ptLst>
  <dgm:cxnLst>
    <dgm:cxn modelId="{5785380C-B4C9-404C-BF2B-F46CA48CD461}" srcId="{E826FA2F-8DF9-4F84-A929-4F0DA138E063}" destId="{D83BCC78-D56C-40B2-A4E9-119D217BB84C}" srcOrd="1" destOrd="0" parTransId="{8014555A-0CB7-4C34-ACAE-613E5E6AC076}" sibTransId="{42890CFE-C418-459F-93F0-D743808833AF}"/>
    <dgm:cxn modelId="{48D4433D-98EC-4B95-B187-C6008CA6BA4A}" srcId="{E826FA2F-8DF9-4F84-A929-4F0DA138E063}" destId="{9BBEF1E3-0CAD-46F1-A1A7-FDD1D2E9A001}" srcOrd="0" destOrd="0" parTransId="{E1A01D08-2A2A-4288-9A6B-4683DB5B102E}" sibTransId="{2F4CA838-9D64-4D04-B928-E4E177D2EFFC}"/>
    <dgm:cxn modelId="{6C9AF75C-8447-43B8-BE3C-4C31F7936BC4}" type="presOf" srcId="{700502CC-08DF-4A38-B06C-7BAE4529CD04}" destId="{988B99C9-8C3B-43DD-B195-DE7699CD3887}" srcOrd="0" destOrd="1" presId="urn:microsoft.com/office/officeart/2005/8/layout/default"/>
    <dgm:cxn modelId="{AC4C6D46-A3A4-4820-9B77-10D8318D5DF5}" type="presOf" srcId="{9318EE55-3B8D-40BB-B3DD-40119884117B}" destId="{66092D74-200C-439C-BC45-FB0319721481}" srcOrd="0" destOrd="4" presId="urn:microsoft.com/office/officeart/2005/8/layout/default"/>
    <dgm:cxn modelId="{C269D148-8C76-410C-A331-5746C72D0611}" type="presOf" srcId="{C15B46CF-86A6-42D1-A495-80BDE3CACF54}" destId="{66092D74-200C-439C-BC45-FB0319721481}" srcOrd="0" destOrd="3" presId="urn:microsoft.com/office/officeart/2005/8/layout/default"/>
    <dgm:cxn modelId="{EB17DE4B-3FF2-4D3A-BBDD-2DC08AC27F68}" type="presOf" srcId="{0C05A7D9-4B26-493B-AD17-CF6F474D2605}" destId="{4C92CBA6-378A-4AC4-8B81-EBCFC25998B5}" srcOrd="0" destOrd="0" presId="urn:microsoft.com/office/officeart/2005/8/layout/default"/>
    <dgm:cxn modelId="{C285F258-FF3A-4081-B43F-946CE599683E}" type="presOf" srcId="{9BBEF1E3-0CAD-46F1-A1A7-FDD1D2E9A001}" destId="{66092D74-200C-439C-BC45-FB0319721481}" srcOrd="0" destOrd="1" presId="urn:microsoft.com/office/officeart/2005/8/layout/default"/>
    <dgm:cxn modelId="{5257A579-F765-4F29-9DE9-80C325D7DF91}" type="presOf" srcId="{AAABA161-B816-48FE-9FF6-403447916EF6}" destId="{988B99C9-8C3B-43DD-B195-DE7699CD3887}" srcOrd="0" destOrd="2" presId="urn:microsoft.com/office/officeart/2005/8/layout/default"/>
    <dgm:cxn modelId="{9705277F-3FF0-473C-9197-78F567FA0D41}" type="presOf" srcId="{03ADAECB-047A-46F4-9200-A29E2B53805A}" destId="{988B99C9-8C3B-43DD-B195-DE7699CD3887}" srcOrd="0" destOrd="0" presId="urn:microsoft.com/office/officeart/2005/8/layout/default"/>
    <dgm:cxn modelId="{13BFAA81-4AC7-4FC3-94A1-BEAD2CF5432B}" srcId="{0C05A7D9-4B26-493B-AD17-CF6F474D2605}" destId="{E826FA2F-8DF9-4F84-A929-4F0DA138E063}" srcOrd="2" destOrd="0" parTransId="{998E800D-ECE1-4951-9960-7BDD393DF063}" sibTransId="{ADE3DF73-07D5-4C55-842D-35766D1190D0}"/>
    <dgm:cxn modelId="{E39D9483-8C47-407F-ABB7-62BAA705E3B8}" type="presOf" srcId="{E826FA2F-8DF9-4F84-A929-4F0DA138E063}" destId="{66092D74-200C-439C-BC45-FB0319721481}" srcOrd="0" destOrd="0" presId="urn:microsoft.com/office/officeart/2005/8/layout/default"/>
    <dgm:cxn modelId="{90BDD183-43A3-4BFF-8752-754A42C17275}" type="presOf" srcId="{7AD47BAE-9CB4-432C-9257-ACCCDE15C002}" destId="{EA286E4F-7206-4C05-AD55-DC212A1A5DC4}" srcOrd="0" destOrd="1" presId="urn:microsoft.com/office/officeart/2005/8/layout/default"/>
    <dgm:cxn modelId="{1618E484-2AA0-473D-9BBB-32819776A979}" type="presOf" srcId="{D1140553-0F2C-4E08-A6D7-E96957698816}" destId="{EA286E4F-7206-4C05-AD55-DC212A1A5DC4}" srcOrd="0" destOrd="0" presId="urn:microsoft.com/office/officeart/2005/8/layout/default"/>
    <dgm:cxn modelId="{8958198B-C668-44C5-B165-14F286A24A69}" srcId="{E826FA2F-8DF9-4F84-A929-4F0DA138E063}" destId="{70B2DF44-34FC-4788-9FB5-6B334345058D}" srcOrd="4" destOrd="0" parTransId="{544ED2F1-447B-4D28-B908-B8AA40785393}" sibTransId="{FBB0510E-F978-4063-8359-F3B0AA0F5613}"/>
    <dgm:cxn modelId="{86F1EF94-C27A-4EBB-8A3E-A4BCC3E627B6}" srcId="{D1140553-0F2C-4E08-A6D7-E96957698816}" destId="{7AD47BAE-9CB4-432C-9257-ACCCDE15C002}" srcOrd="0" destOrd="0" parTransId="{6EE0849C-BC16-44AE-B4F4-4E3885699EAF}" sibTransId="{B2C67109-4C19-4CF1-A362-DDEA36B3260E}"/>
    <dgm:cxn modelId="{146526A4-DA68-47B8-993B-C939C6F5118E}" srcId="{0C05A7D9-4B26-493B-AD17-CF6F474D2605}" destId="{03ADAECB-047A-46F4-9200-A29E2B53805A}" srcOrd="1" destOrd="0" parTransId="{01509BDB-23A7-4E1A-8EE1-9B1BA783FFD5}" sibTransId="{CDCDB1D1-BFA5-4418-9B98-B885AF47B3A5}"/>
    <dgm:cxn modelId="{F2E52BA6-1828-41F3-84E6-2FEBCCEF3567}" type="presOf" srcId="{D83BCC78-D56C-40B2-A4E9-119D217BB84C}" destId="{66092D74-200C-439C-BC45-FB0319721481}" srcOrd="0" destOrd="2" presId="urn:microsoft.com/office/officeart/2005/8/layout/default"/>
    <dgm:cxn modelId="{1A1419A7-6DE0-4547-9A7F-A05F3D6E20BD}" srcId="{0C05A7D9-4B26-493B-AD17-CF6F474D2605}" destId="{D1140553-0F2C-4E08-A6D7-E96957698816}" srcOrd="0" destOrd="0" parTransId="{953147A8-9B94-4655-872A-C321ED63F359}" sibTransId="{7317062B-F1CA-45AF-ACEC-CF8A4966C4E7}"/>
    <dgm:cxn modelId="{6B9B06A9-590D-4CF8-8028-8B00E8E8FC9A}" type="presOf" srcId="{424F1DCF-E6C8-484E-BBFE-3FD4CF2C4D50}" destId="{EA286E4F-7206-4C05-AD55-DC212A1A5DC4}" srcOrd="0" destOrd="2" presId="urn:microsoft.com/office/officeart/2005/8/layout/default"/>
    <dgm:cxn modelId="{0B1B11AE-1925-4EAA-938C-64808B69560F}" type="presOf" srcId="{6145CC65-493A-459B-864E-BE0291E3B59B}" destId="{988B99C9-8C3B-43DD-B195-DE7699CD3887}" srcOrd="0" destOrd="3" presId="urn:microsoft.com/office/officeart/2005/8/layout/default"/>
    <dgm:cxn modelId="{003341B0-2573-45BF-8769-62AF9E74BC57}" srcId="{03ADAECB-047A-46F4-9200-A29E2B53805A}" destId="{AAABA161-B816-48FE-9FF6-403447916EF6}" srcOrd="1" destOrd="0" parTransId="{9B816D66-BCA5-4EB0-97D2-6A6E68BCB7D8}" sibTransId="{CAF8154D-B656-4A60-911E-7D35FB8AFDAF}"/>
    <dgm:cxn modelId="{647268B4-6B7E-4795-B66A-66D49FE9AB0C}" srcId="{E826FA2F-8DF9-4F84-A929-4F0DA138E063}" destId="{C15B46CF-86A6-42D1-A495-80BDE3CACF54}" srcOrd="2" destOrd="0" parTransId="{D17DCF28-A149-41C4-8F81-35A18B015B57}" sibTransId="{04EE481C-7495-40CE-950B-C4EB510C5DC1}"/>
    <dgm:cxn modelId="{0C8D72CC-FD2E-40D0-A2E4-3B43ADCC471F}" srcId="{E826FA2F-8DF9-4F84-A929-4F0DA138E063}" destId="{9318EE55-3B8D-40BB-B3DD-40119884117B}" srcOrd="3" destOrd="0" parTransId="{1C4B42A5-C5B7-4CE0-B56D-8D3A89CD9A8B}" sibTransId="{56FEB4AC-12D6-48A4-92FD-11F459ACEE29}"/>
    <dgm:cxn modelId="{3D44FBCE-719C-4E38-9D14-79D86B90AE5A}" srcId="{03ADAECB-047A-46F4-9200-A29E2B53805A}" destId="{700502CC-08DF-4A38-B06C-7BAE4529CD04}" srcOrd="0" destOrd="0" parTransId="{7D4D8014-F1DB-411D-A99F-000FBF67510A}" sibTransId="{3AA66E2B-C7F4-4738-B0C6-89117339686D}"/>
    <dgm:cxn modelId="{249459D0-52DE-47AC-8305-F5DAB0102D43}" srcId="{03ADAECB-047A-46F4-9200-A29E2B53805A}" destId="{6145CC65-493A-459B-864E-BE0291E3B59B}" srcOrd="2" destOrd="0" parTransId="{7136BF63-0206-4684-85AB-24B66306CC42}" sibTransId="{72680BB3-04FA-41D0-987B-EFEBFE9E86BA}"/>
    <dgm:cxn modelId="{84735FE3-B9C6-4347-85DD-2269BE313205}" srcId="{D1140553-0F2C-4E08-A6D7-E96957698816}" destId="{424F1DCF-E6C8-484E-BBFE-3FD4CF2C4D50}" srcOrd="1" destOrd="0" parTransId="{B0B1209E-36A1-4E04-98E3-7E1EE65124D5}" sibTransId="{5519A9E2-41C9-4E39-8BED-4C67155F3D79}"/>
    <dgm:cxn modelId="{F70DBBFF-88F9-4759-A9C9-92EE055AD520}" type="presOf" srcId="{70B2DF44-34FC-4788-9FB5-6B334345058D}" destId="{66092D74-200C-439C-BC45-FB0319721481}" srcOrd="0" destOrd="5" presId="urn:microsoft.com/office/officeart/2005/8/layout/default"/>
    <dgm:cxn modelId="{A2EE1B81-3B4C-4538-8B7A-89C9C9C9704F}" type="presParOf" srcId="{4C92CBA6-378A-4AC4-8B81-EBCFC25998B5}" destId="{EA286E4F-7206-4C05-AD55-DC212A1A5DC4}" srcOrd="0" destOrd="0" presId="urn:microsoft.com/office/officeart/2005/8/layout/default"/>
    <dgm:cxn modelId="{87FD956B-F125-4FB2-9AEC-D6FE41AA4920}" type="presParOf" srcId="{4C92CBA6-378A-4AC4-8B81-EBCFC25998B5}" destId="{F80C4730-0173-4C1A-9B71-4C9F48B5C63F}" srcOrd="1" destOrd="0" presId="urn:microsoft.com/office/officeart/2005/8/layout/default"/>
    <dgm:cxn modelId="{AB97EC8B-D711-4D2A-A457-AFF1E528CD6F}" type="presParOf" srcId="{4C92CBA6-378A-4AC4-8B81-EBCFC25998B5}" destId="{988B99C9-8C3B-43DD-B195-DE7699CD3887}" srcOrd="2" destOrd="0" presId="urn:microsoft.com/office/officeart/2005/8/layout/default"/>
    <dgm:cxn modelId="{6320C173-9F3B-4104-B264-E323AEE5BC8B}" type="presParOf" srcId="{4C92CBA6-378A-4AC4-8B81-EBCFC25998B5}" destId="{8757694E-B58D-42BB-9481-BBB0585FB9A2}" srcOrd="3" destOrd="0" presId="urn:microsoft.com/office/officeart/2005/8/layout/default"/>
    <dgm:cxn modelId="{CD1E7E12-3CE0-466A-987E-C63A7C1CD613}" type="presParOf" srcId="{4C92CBA6-378A-4AC4-8B81-EBCFC25998B5}" destId="{66092D74-200C-439C-BC45-FB031972148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9.xml><?xml version="1.0" encoding="utf-8"?>
<dgm:dataModel xmlns:dgm="http://schemas.openxmlformats.org/drawingml/2006/diagram" xmlns:a="http://schemas.openxmlformats.org/drawingml/2006/main">
  <dgm:ptLst>
    <dgm:pt modelId="{3F388ED1-67EA-4C52-A4EF-B33800D3CCFC}"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24C96D5D-A300-45E1-8162-B0468AA37BF6}" type="parTrans" cxnId="{74D501EF-378E-4B1A-B1FC-B50AC677E692}">
      <dgm:prSet/>
      <dgm:spPr/>
      <dgm:t>
        <a:bodyPr/>
        <a:lstStyle/>
        <a:p>
          <a:endParaRPr lang="en-US"/>
        </a:p>
      </dgm:t>
    </dgm:pt>
    <dgm:pt modelId="{6765D87C-7CC0-41A0-B409-35F7C6713B98}">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Interactions virtuelles</a:t>
          </a:r>
          <a:endParaRPr lang="en-US"/>
        </a:p>
      </dgm:t>
    </dgm:pt>
    <dgm:pt modelId="{4C6C75F7-926F-45DD-9F25-3A9FC1E581A0}" type="sibTrans" cxnId="{74D501EF-378E-4B1A-B1FC-B50AC677E692}">
      <dgm:prSet/>
      <dgm:spPr/>
      <dgm:t>
        <a:bodyPr/>
        <a:lstStyle/>
        <a:p>
          <a:endParaRPr lang="en-US"/>
        </a:p>
      </dgm:t>
    </dgm:pt>
    <dgm:pt modelId="{40235C9D-7692-4244-97C2-DBBB4D4D2FF7}" type="parTrans" cxnId="{9D5F5D29-369A-4D45-B42C-F64AC8FB514A}">
      <dgm:prSet/>
      <dgm:spPr/>
      <dgm:t>
        <a:bodyPr/>
        <a:lstStyle/>
        <a:p>
          <a:endParaRPr lang="en-US"/>
        </a:p>
      </dgm:t>
    </dgm:pt>
    <dgm:pt modelId="{6231BEAF-70FD-4AEB-A281-E1C3F7CDE657}">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Fêtes de fin d’année</a:t>
          </a:r>
          <a:endParaRPr lang="en-US"/>
        </a:p>
      </dgm:t>
    </dgm:pt>
    <dgm:pt modelId="{D81DA91B-005B-4E14-AFDF-C8B3B3160C6B}" type="sibTrans" cxnId="{9D5F5D29-369A-4D45-B42C-F64AC8FB514A}">
      <dgm:prSet/>
      <dgm:spPr/>
      <dgm:t>
        <a:bodyPr/>
        <a:lstStyle/>
        <a:p>
          <a:endParaRPr lang="en-US"/>
        </a:p>
      </dgm:t>
    </dgm:pt>
    <dgm:pt modelId="{D5730169-979E-469C-ABDC-5BB87EC4A7D0}" type="parTrans" cxnId="{D378EA02-70BC-4010-A2AC-1327A5FDA065}">
      <dgm:prSet/>
      <dgm:spPr/>
      <dgm:t>
        <a:bodyPr/>
        <a:lstStyle/>
        <a:p>
          <a:endParaRPr lang="en-US"/>
        </a:p>
      </dgm:t>
    </dgm:pt>
    <dgm:pt modelId="{27B0C93C-65AD-44AE-BD1D-79565B1AB665}">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Repas</a:t>
          </a:r>
          <a:endParaRPr lang="en-US"/>
        </a:p>
      </dgm:t>
    </dgm:pt>
    <dgm:pt modelId="{FFF4DE70-A941-428D-AD23-FDC4AC01E7E7}" type="sibTrans" cxnId="{D378EA02-70BC-4010-A2AC-1327A5FDA065}">
      <dgm:prSet/>
      <dgm:spPr/>
      <dgm:t>
        <a:bodyPr/>
        <a:lstStyle/>
        <a:p>
          <a:endParaRPr lang="en-US"/>
        </a:p>
      </dgm:t>
    </dgm:pt>
    <dgm:pt modelId="{6BBA676C-6505-47E3-B24D-7F015100F287}" type="parTrans" cxnId="{AD18F6FF-20A2-4361-BC88-FDB4D267F096}">
      <dgm:prSet/>
      <dgm:spPr/>
      <dgm:t>
        <a:bodyPr/>
        <a:lstStyle/>
        <a:p>
          <a:endParaRPr lang="en-US"/>
        </a:p>
      </dgm:t>
    </dgm:pt>
    <dgm:pt modelId="{97980F97-FD8E-4850-8583-B12FD0A71EDD}">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Conférences et salons professionnels</a:t>
          </a:r>
          <a:endParaRPr lang="en-US"/>
        </a:p>
      </dgm:t>
    </dgm:pt>
    <dgm:pt modelId="{07441A10-64D9-4416-B8F3-0938FE902A71}" type="sibTrans" cxnId="{AD18F6FF-20A2-4361-BC88-FDB4D267F096}">
      <dgm:prSet/>
      <dgm:spPr/>
      <dgm:t>
        <a:bodyPr/>
        <a:lstStyle/>
        <a:p>
          <a:endParaRPr lang="en-US"/>
        </a:p>
      </dgm:t>
    </dgm:pt>
    <dgm:pt modelId="{DFC14506-07D7-4BAC-AF9E-C1E3B04DA640}" type="parTrans" cxnId="{1ABED2B3-966C-437B-94C9-4C59C04F6B33}">
      <dgm:prSet/>
      <dgm:spPr/>
      <dgm:t>
        <a:bodyPr/>
        <a:lstStyle/>
        <a:p>
          <a:endParaRPr lang="en-US"/>
        </a:p>
      </dgm:t>
    </dgm:pt>
    <dgm:pt modelId="{349FD996-44AE-4207-8571-5AD7FE467F82}">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Voyages d’affaires</a:t>
          </a:r>
          <a:endParaRPr lang="en-US"/>
        </a:p>
      </dgm:t>
    </dgm:pt>
    <dgm:pt modelId="{429D8192-9264-4781-9A0B-4D8DF4D0516E}" type="sibTrans" cxnId="{1ABED2B3-966C-437B-94C9-4C59C04F6B33}">
      <dgm:prSet/>
      <dgm:spPr/>
      <dgm:t>
        <a:bodyPr/>
        <a:lstStyle/>
        <a:p>
          <a:endParaRPr lang="en-US"/>
        </a:p>
      </dgm:t>
    </dgm:pt>
    <dgm:pt modelId="{5955E5F5-4EA7-43CB-959C-41431C3D878F}" type="parTrans" cxnId="{2C6600B3-1E63-464C-9486-9C0F86B8D0F4}">
      <dgm:prSet/>
      <dgm:spPr/>
      <dgm:t>
        <a:bodyPr/>
        <a:lstStyle/>
        <a:p>
          <a:endParaRPr lang="en-US"/>
        </a:p>
      </dgm:t>
    </dgm:pt>
    <dgm:pt modelId="{253C37E7-9A9E-4D16-802A-A24456CEAAE1}">
      <dgm:prSet custT="1"/>
      <dgm:spPr>
        <a:noFill/>
        <a:ln>
          <a:noFill/>
        </a:ln>
      </dgm:spPr>
      <dgm:t>
        <a:bodyPr/>
        <a:lstStyle/>
        <a:p>
          <a:pPr>
            <a:lnSpc>
              <a:spcPct val="100000"/>
            </a:lnSpc>
          </a:pPr>
          <a:r>
            <a:rPr lang="fr-CA" sz="1700" b="0" i="0" strike="noStrike" cap="none" spc="0" baseline="0">
              <a:solidFill>
                <a:srgbClr val="000000"/>
              </a:solidFill>
              <a:effectLst/>
              <a:latin typeface="Calibri"/>
              <a:ea typeface="Calibri"/>
              <a:cs typeface="Calibri"/>
            </a:rPr>
            <a:t>Travailleurs à distance et à domicile</a:t>
          </a:r>
          <a:endParaRPr lang="en-US"/>
        </a:p>
      </dgm:t>
    </dgm:pt>
    <dgm:pt modelId="{FE96DB33-C5B7-4DEB-82B2-0B1CE90A4D2B}" type="sibTrans" cxnId="{2C6600B3-1E63-464C-9486-9C0F86B8D0F4}">
      <dgm:prSet/>
      <dgm:spPr/>
      <dgm:t>
        <a:bodyPr/>
        <a:lstStyle/>
        <a:p>
          <a:endParaRPr lang="en-US"/>
        </a:p>
      </dgm:t>
    </dgm:pt>
    <dgm:pt modelId="{C3088A38-995F-4EC6-9F78-BAFAEAF4162C}" type="pres">
      <dgm:prSet presAssocID="{3F388ED1-67EA-4C52-A4EF-B33800D3CCFC}" presName="root" presStyleCnt="0">
        <dgm:presLayoutVars>
          <dgm:dir/>
          <dgm:resizeHandles val="exact"/>
        </dgm:presLayoutVars>
      </dgm:prSet>
      <dgm:spPr/>
    </dgm:pt>
    <dgm:pt modelId="{D05E4E73-9587-4A56-B8AA-2D6161B9C368}" type="pres">
      <dgm:prSet presAssocID="{6765D87C-7CC0-41A0-B409-35F7C6713B98}" presName="compNode" presStyleCnt="0"/>
      <dgm:spPr/>
    </dgm:pt>
    <dgm:pt modelId="{D99A27DE-1A9D-4CFC-BE2E-D6325D4C73B2}" type="pres">
      <dgm:prSet presAssocID="{6765D87C-7CC0-41A0-B409-35F7C6713B98}"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8667B507-D177-4EC0-A407-1521B796D904}" type="pres">
      <dgm:prSet presAssocID="{6765D87C-7CC0-41A0-B409-35F7C6713B98}" presName="spaceRect" presStyleCnt="0"/>
      <dgm:spPr/>
    </dgm:pt>
    <dgm:pt modelId="{79FCE879-EDA8-4A56-B9E8-3934B4682EB9}" type="pres">
      <dgm:prSet presAssocID="{6765D87C-7CC0-41A0-B409-35F7C6713B98}" presName="textRect" presStyleLbl="revTx" presStyleIdx="0" presStyleCnt="6">
        <dgm:presLayoutVars>
          <dgm:chMax val="1"/>
          <dgm:chPref val="1"/>
        </dgm:presLayoutVars>
      </dgm:prSet>
      <dgm:spPr/>
    </dgm:pt>
    <dgm:pt modelId="{6E752127-53E6-4E86-8330-1CDB423EB111}" type="pres">
      <dgm:prSet presAssocID="{4C6C75F7-926F-45DD-9F25-3A9FC1E581A0}" presName="sibTrans" presStyleCnt="0"/>
      <dgm:spPr/>
    </dgm:pt>
    <dgm:pt modelId="{4425BB72-67F0-47AF-9B82-CA0521543AF0}" type="pres">
      <dgm:prSet presAssocID="{6231BEAF-70FD-4AEB-A281-E1C3F7CDE657}" presName="compNode" presStyleCnt="0"/>
      <dgm:spPr/>
    </dgm:pt>
    <dgm:pt modelId="{B02E9D7E-F6E6-43AD-AAC9-B8DAE5007E4C}" type="pres">
      <dgm:prSet presAssocID="{6231BEAF-70FD-4AEB-A281-E1C3F7CDE65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
        </a:ext>
      </dgm:extLst>
    </dgm:pt>
    <dgm:pt modelId="{47A43DDC-EDCF-451A-BC7A-3BA7127C9D9D}" type="pres">
      <dgm:prSet presAssocID="{6231BEAF-70FD-4AEB-A281-E1C3F7CDE657}" presName="spaceRect" presStyleCnt="0"/>
      <dgm:spPr/>
    </dgm:pt>
    <dgm:pt modelId="{C645D0FB-691D-4DD1-A770-EFD951B22D94}" type="pres">
      <dgm:prSet presAssocID="{6231BEAF-70FD-4AEB-A281-E1C3F7CDE657}" presName="textRect" presStyleLbl="revTx" presStyleIdx="1" presStyleCnt="6">
        <dgm:presLayoutVars>
          <dgm:chMax val="1"/>
          <dgm:chPref val="1"/>
        </dgm:presLayoutVars>
      </dgm:prSet>
      <dgm:spPr/>
    </dgm:pt>
    <dgm:pt modelId="{81722C06-5ED7-488E-B671-DA04CF4D005E}" type="pres">
      <dgm:prSet presAssocID="{D81DA91B-005B-4E14-AFDF-C8B3B3160C6B}" presName="sibTrans" presStyleCnt="0"/>
      <dgm:spPr/>
    </dgm:pt>
    <dgm:pt modelId="{492226F2-ECB5-4A9A-83B3-1D3658F8ECC7}" type="pres">
      <dgm:prSet presAssocID="{27B0C93C-65AD-44AE-BD1D-79565B1AB665}" presName="compNode" presStyleCnt="0"/>
      <dgm:spPr/>
    </dgm:pt>
    <dgm:pt modelId="{4E3EF8FC-D81C-4C6A-806C-EA4743F4BA77}" type="pres">
      <dgm:prSet presAssocID="{27B0C93C-65AD-44AE-BD1D-79565B1AB66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k and knife"/>
        </a:ext>
      </dgm:extLst>
    </dgm:pt>
    <dgm:pt modelId="{28B72FB2-153D-41A2-BD5A-3D59DFAA907C}" type="pres">
      <dgm:prSet presAssocID="{27B0C93C-65AD-44AE-BD1D-79565B1AB665}" presName="spaceRect" presStyleCnt="0"/>
      <dgm:spPr/>
    </dgm:pt>
    <dgm:pt modelId="{055E8662-2533-42D8-B4B8-521917D7DEAC}" type="pres">
      <dgm:prSet presAssocID="{27B0C93C-65AD-44AE-BD1D-79565B1AB665}" presName="textRect" presStyleLbl="revTx" presStyleIdx="2" presStyleCnt="6">
        <dgm:presLayoutVars>
          <dgm:chMax val="1"/>
          <dgm:chPref val="1"/>
        </dgm:presLayoutVars>
      </dgm:prSet>
      <dgm:spPr/>
    </dgm:pt>
    <dgm:pt modelId="{F24FB88B-8951-44CD-B4BE-2C3E45E0842B}" type="pres">
      <dgm:prSet presAssocID="{FFF4DE70-A941-428D-AD23-FDC4AC01E7E7}" presName="sibTrans" presStyleCnt="0"/>
      <dgm:spPr/>
    </dgm:pt>
    <dgm:pt modelId="{01DDB054-2946-4508-A072-B38236E42C83}" type="pres">
      <dgm:prSet presAssocID="{97980F97-FD8E-4850-8583-B12FD0A71EDD}" presName="compNode" presStyleCnt="0"/>
      <dgm:spPr/>
    </dgm:pt>
    <dgm:pt modelId="{57CC4C62-BD4B-45BD-83D8-0A29B71FFADD}" type="pres">
      <dgm:prSet presAssocID="{97980F97-FD8E-4850-8583-B12FD0A71EDD}" presName="iconRect" presStyleLbl="node1" presStyleIdx="3" presStyleCnt="6" custLinFactNeighborX="9279" custLinFactNeighborY="1136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86E0AAC4-6666-4366-86EF-3252C8C6CA8F}" type="pres">
      <dgm:prSet presAssocID="{97980F97-FD8E-4850-8583-B12FD0A71EDD}" presName="spaceRect" presStyleCnt="0"/>
      <dgm:spPr/>
    </dgm:pt>
    <dgm:pt modelId="{C247C313-91DA-4206-839D-B34E91EFC201}" type="pres">
      <dgm:prSet presAssocID="{97980F97-FD8E-4850-8583-B12FD0A71EDD}" presName="textRect" presStyleLbl="revTx" presStyleIdx="3" presStyleCnt="6" custLinFactNeighborX="3574" custLinFactNeighborY="-6017">
        <dgm:presLayoutVars>
          <dgm:chMax val="1"/>
          <dgm:chPref val="1"/>
        </dgm:presLayoutVars>
      </dgm:prSet>
      <dgm:spPr/>
    </dgm:pt>
    <dgm:pt modelId="{C71F7B83-B8BC-43D9-B497-AE47E4C88717}" type="pres">
      <dgm:prSet presAssocID="{07441A10-64D9-4416-B8F3-0938FE902A71}" presName="sibTrans" presStyleCnt="0"/>
      <dgm:spPr/>
    </dgm:pt>
    <dgm:pt modelId="{5695538A-F7DD-43EC-A3B0-2C1F8C3AF035}" type="pres">
      <dgm:prSet presAssocID="{349FD996-44AE-4207-8571-5AD7FE467F82}" presName="compNode" presStyleCnt="0"/>
      <dgm:spPr/>
    </dgm:pt>
    <dgm:pt modelId="{E86A0C04-E9B4-4015-A6A8-3FB1046B29CE}" type="pres">
      <dgm:prSet presAssocID="{349FD996-44AE-4207-8571-5AD7FE467F8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irplane"/>
        </a:ext>
      </dgm:extLst>
    </dgm:pt>
    <dgm:pt modelId="{D2D79CFB-0CF4-4C0C-BEB0-EA6D92F581EA}" type="pres">
      <dgm:prSet presAssocID="{349FD996-44AE-4207-8571-5AD7FE467F82}" presName="spaceRect" presStyleCnt="0"/>
      <dgm:spPr/>
    </dgm:pt>
    <dgm:pt modelId="{4218699A-9F44-43C4-BACD-AFA07472911A}" type="pres">
      <dgm:prSet presAssocID="{349FD996-44AE-4207-8571-5AD7FE467F82}" presName="textRect" presStyleLbl="revTx" presStyleIdx="4" presStyleCnt="6">
        <dgm:presLayoutVars>
          <dgm:chMax val="1"/>
          <dgm:chPref val="1"/>
        </dgm:presLayoutVars>
      </dgm:prSet>
      <dgm:spPr/>
    </dgm:pt>
    <dgm:pt modelId="{0054ECED-2F46-4FA7-AC87-F6DA2C7F139B}" type="pres">
      <dgm:prSet presAssocID="{429D8192-9264-4781-9A0B-4D8DF4D0516E}" presName="sibTrans" presStyleCnt="0"/>
      <dgm:spPr/>
    </dgm:pt>
    <dgm:pt modelId="{07CB86F6-7387-449F-BCEA-84E42CC7E22F}" type="pres">
      <dgm:prSet presAssocID="{253C37E7-9A9E-4D16-802A-A24456CEAAE1}" presName="compNode" presStyleCnt="0"/>
      <dgm:spPr/>
    </dgm:pt>
    <dgm:pt modelId="{5421B5D6-8F0B-4CBE-B7B3-DBCDD202F370}" type="pres">
      <dgm:prSet presAssocID="{253C37E7-9A9E-4D16-802A-A24456CEAAE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itor"/>
        </a:ext>
      </dgm:extLst>
    </dgm:pt>
    <dgm:pt modelId="{EBBF4D40-2EF1-4012-ABEC-74915D189F7E}" type="pres">
      <dgm:prSet presAssocID="{253C37E7-9A9E-4D16-802A-A24456CEAAE1}" presName="spaceRect" presStyleCnt="0"/>
      <dgm:spPr/>
    </dgm:pt>
    <dgm:pt modelId="{F8CD23AD-0F84-4328-BCA7-961CDC0F9CC6}" type="pres">
      <dgm:prSet presAssocID="{253C37E7-9A9E-4D16-802A-A24456CEAAE1}" presName="textRect" presStyleLbl="revTx" presStyleIdx="5" presStyleCnt="6">
        <dgm:presLayoutVars>
          <dgm:chMax val="1"/>
          <dgm:chPref val="1"/>
        </dgm:presLayoutVars>
      </dgm:prSet>
      <dgm:spPr/>
    </dgm:pt>
  </dgm:ptLst>
  <dgm:cxnLst>
    <dgm:cxn modelId="{D378EA02-70BC-4010-A2AC-1327A5FDA065}" srcId="{3F388ED1-67EA-4C52-A4EF-B33800D3CCFC}" destId="{27B0C93C-65AD-44AE-BD1D-79565B1AB665}" srcOrd="2" destOrd="0" parTransId="{D5730169-979E-469C-ABDC-5BB87EC4A7D0}" sibTransId="{FFF4DE70-A941-428D-AD23-FDC4AC01E7E7}"/>
    <dgm:cxn modelId="{9D5F5D29-369A-4D45-B42C-F64AC8FB514A}" srcId="{3F388ED1-67EA-4C52-A4EF-B33800D3CCFC}" destId="{6231BEAF-70FD-4AEB-A281-E1C3F7CDE657}" srcOrd="1" destOrd="0" parTransId="{40235C9D-7692-4244-97C2-DBBB4D4D2FF7}" sibTransId="{D81DA91B-005B-4E14-AFDF-C8B3B3160C6B}"/>
    <dgm:cxn modelId="{181D577D-C7B2-4F2B-8323-D06F1EBDEDFB}" type="presOf" srcId="{3F388ED1-67EA-4C52-A4EF-B33800D3CCFC}" destId="{C3088A38-995F-4EC6-9F78-BAFAEAF4162C}" srcOrd="0" destOrd="0" presId="urn:microsoft.com/office/officeart/2018/2/layout/IconLabelList"/>
    <dgm:cxn modelId="{62EE8893-D643-4F01-97D4-C766EC697338}" type="presOf" srcId="{97980F97-FD8E-4850-8583-B12FD0A71EDD}" destId="{C247C313-91DA-4206-839D-B34E91EFC201}" srcOrd="0" destOrd="0" presId="urn:microsoft.com/office/officeart/2018/2/layout/IconLabelList"/>
    <dgm:cxn modelId="{DDDD2C9D-71D8-4828-ACD4-91E78DE86D08}" type="presOf" srcId="{6765D87C-7CC0-41A0-B409-35F7C6713B98}" destId="{79FCE879-EDA8-4A56-B9E8-3934B4682EB9}" srcOrd="0" destOrd="0" presId="urn:microsoft.com/office/officeart/2018/2/layout/IconLabelList"/>
    <dgm:cxn modelId="{986BAEAB-230B-40AE-87C6-482CD25F3942}" type="presOf" srcId="{253C37E7-9A9E-4D16-802A-A24456CEAAE1}" destId="{F8CD23AD-0F84-4328-BCA7-961CDC0F9CC6}" srcOrd="0" destOrd="0" presId="urn:microsoft.com/office/officeart/2018/2/layout/IconLabelList"/>
    <dgm:cxn modelId="{2C6600B3-1E63-464C-9486-9C0F86B8D0F4}" srcId="{3F388ED1-67EA-4C52-A4EF-B33800D3CCFC}" destId="{253C37E7-9A9E-4D16-802A-A24456CEAAE1}" srcOrd="5" destOrd="0" parTransId="{5955E5F5-4EA7-43CB-959C-41431C3D878F}" sibTransId="{FE96DB33-C5B7-4DEB-82B2-0B1CE90A4D2B}"/>
    <dgm:cxn modelId="{1ABED2B3-966C-437B-94C9-4C59C04F6B33}" srcId="{3F388ED1-67EA-4C52-A4EF-B33800D3CCFC}" destId="{349FD996-44AE-4207-8571-5AD7FE467F82}" srcOrd="4" destOrd="0" parTransId="{DFC14506-07D7-4BAC-AF9E-C1E3B04DA640}" sibTransId="{429D8192-9264-4781-9A0B-4D8DF4D0516E}"/>
    <dgm:cxn modelId="{F8161CC5-63C5-43A4-AC8C-7AED7D83EDA3}" type="presOf" srcId="{349FD996-44AE-4207-8571-5AD7FE467F82}" destId="{4218699A-9F44-43C4-BACD-AFA07472911A}" srcOrd="0" destOrd="0" presId="urn:microsoft.com/office/officeart/2018/2/layout/IconLabelList"/>
    <dgm:cxn modelId="{111A3AC8-7F87-4748-8361-F49E16B7C811}" type="presOf" srcId="{6231BEAF-70FD-4AEB-A281-E1C3F7CDE657}" destId="{C645D0FB-691D-4DD1-A770-EFD951B22D94}" srcOrd="0" destOrd="0" presId="urn:microsoft.com/office/officeart/2018/2/layout/IconLabelList"/>
    <dgm:cxn modelId="{10748DE0-003E-4BA7-B34A-89FE5E1079D3}" type="presOf" srcId="{27B0C93C-65AD-44AE-BD1D-79565B1AB665}" destId="{055E8662-2533-42D8-B4B8-521917D7DEAC}" srcOrd="0" destOrd="0" presId="urn:microsoft.com/office/officeart/2018/2/layout/IconLabelList"/>
    <dgm:cxn modelId="{74D501EF-378E-4B1A-B1FC-B50AC677E692}" srcId="{3F388ED1-67EA-4C52-A4EF-B33800D3CCFC}" destId="{6765D87C-7CC0-41A0-B409-35F7C6713B98}" srcOrd="0" destOrd="0" parTransId="{24C96D5D-A300-45E1-8162-B0468AA37BF6}" sibTransId="{4C6C75F7-926F-45DD-9F25-3A9FC1E581A0}"/>
    <dgm:cxn modelId="{AD18F6FF-20A2-4361-BC88-FDB4D267F096}" srcId="{3F388ED1-67EA-4C52-A4EF-B33800D3CCFC}" destId="{97980F97-FD8E-4850-8583-B12FD0A71EDD}" srcOrd="3" destOrd="0" parTransId="{6BBA676C-6505-47E3-B24D-7F015100F287}" sibTransId="{07441A10-64D9-4416-B8F3-0938FE902A71}"/>
    <dgm:cxn modelId="{7FDCE99F-CA9F-4AC3-ACFA-C37992732119}" type="presParOf" srcId="{C3088A38-995F-4EC6-9F78-BAFAEAF4162C}" destId="{D05E4E73-9587-4A56-B8AA-2D6161B9C368}" srcOrd="0" destOrd="0" presId="urn:microsoft.com/office/officeart/2018/2/layout/IconLabelList"/>
    <dgm:cxn modelId="{7322B201-D21F-4359-ADFE-C813EC2EB57E}" type="presParOf" srcId="{D05E4E73-9587-4A56-B8AA-2D6161B9C368}" destId="{D99A27DE-1A9D-4CFC-BE2E-D6325D4C73B2}" srcOrd="0" destOrd="0" presId="urn:microsoft.com/office/officeart/2018/2/layout/IconLabelList"/>
    <dgm:cxn modelId="{982E4B1B-2BF2-4C41-8EFA-9D869E281EB4}" type="presParOf" srcId="{D05E4E73-9587-4A56-B8AA-2D6161B9C368}" destId="{8667B507-D177-4EC0-A407-1521B796D904}" srcOrd="1" destOrd="0" presId="urn:microsoft.com/office/officeart/2018/2/layout/IconLabelList"/>
    <dgm:cxn modelId="{6A5C284B-FF1E-4EE3-8809-CB50575A365E}" type="presParOf" srcId="{D05E4E73-9587-4A56-B8AA-2D6161B9C368}" destId="{79FCE879-EDA8-4A56-B9E8-3934B4682EB9}" srcOrd="2" destOrd="0" presId="urn:microsoft.com/office/officeart/2018/2/layout/IconLabelList"/>
    <dgm:cxn modelId="{D93018D9-3551-4DD1-8237-34BF91504050}" type="presParOf" srcId="{C3088A38-995F-4EC6-9F78-BAFAEAF4162C}" destId="{6E752127-53E6-4E86-8330-1CDB423EB111}" srcOrd="1" destOrd="0" presId="urn:microsoft.com/office/officeart/2018/2/layout/IconLabelList"/>
    <dgm:cxn modelId="{5BE3A28A-F3D0-4577-A5BE-237BA883BDB5}" type="presParOf" srcId="{C3088A38-995F-4EC6-9F78-BAFAEAF4162C}" destId="{4425BB72-67F0-47AF-9B82-CA0521543AF0}" srcOrd="2" destOrd="0" presId="urn:microsoft.com/office/officeart/2018/2/layout/IconLabelList"/>
    <dgm:cxn modelId="{97C99A35-1FA3-4D76-B7F2-F3DDF0F853F4}" type="presParOf" srcId="{4425BB72-67F0-47AF-9B82-CA0521543AF0}" destId="{B02E9D7E-F6E6-43AD-AAC9-B8DAE5007E4C}" srcOrd="0" destOrd="0" presId="urn:microsoft.com/office/officeart/2018/2/layout/IconLabelList"/>
    <dgm:cxn modelId="{575E3572-F49A-4145-AD63-463BEA859EED}" type="presParOf" srcId="{4425BB72-67F0-47AF-9B82-CA0521543AF0}" destId="{47A43DDC-EDCF-451A-BC7A-3BA7127C9D9D}" srcOrd="1" destOrd="0" presId="urn:microsoft.com/office/officeart/2018/2/layout/IconLabelList"/>
    <dgm:cxn modelId="{F076BC84-66F0-453A-B418-E7519D51D15B}" type="presParOf" srcId="{4425BB72-67F0-47AF-9B82-CA0521543AF0}" destId="{C645D0FB-691D-4DD1-A770-EFD951B22D94}" srcOrd="2" destOrd="0" presId="urn:microsoft.com/office/officeart/2018/2/layout/IconLabelList"/>
    <dgm:cxn modelId="{C3E504E3-3852-4AF9-881B-1723C678980C}" type="presParOf" srcId="{C3088A38-995F-4EC6-9F78-BAFAEAF4162C}" destId="{81722C06-5ED7-488E-B671-DA04CF4D005E}" srcOrd="3" destOrd="0" presId="urn:microsoft.com/office/officeart/2018/2/layout/IconLabelList"/>
    <dgm:cxn modelId="{8E38B170-9E22-479D-A0D6-92717C86D49B}" type="presParOf" srcId="{C3088A38-995F-4EC6-9F78-BAFAEAF4162C}" destId="{492226F2-ECB5-4A9A-83B3-1D3658F8ECC7}" srcOrd="4" destOrd="0" presId="urn:microsoft.com/office/officeart/2018/2/layout/IconLabelList"/>
    <dgm:cxn modelId="{48C29E31-292D-482B-9D16-AA6388F5ED00}" type="presParOf" srcId="{492226F2-ECB5-4A9A-83B3-1D3658F8ECC7}" destId="{4E3EF8FC-D81C-4C6A-806C-EA4743F4BA77}" srcOrd="0" destOrd="0" presId="urn:microsoft.com/office/officeart/2018/2/layout/IconLabelList"/>
    <dgm:cxn modelId="{BD909E28-0392-4352-9F64-BC0EDB2F5948}" type="presParOf" srcId="{492226F2-ECB5-4A9A-83B3-1D3658F8ECC7}" destId="{28B72FB2-153D-41A2-BD5A-3D59DFAA907C}" srcOrd="1" destOrd="0" presId="urn:microsoft.com/office/officeart/2018/2/layout/IconLabelList"/>
    <dgm:cxn modelId="{5D289253-BDDD-4FDC-A2FB-F1D5453CB08C}" type="presParOf" srcId="{492226F2-ECB5-4A9A-83B3-1D3658F8ECC7}" destId="{055E8662-2533-42D8-B4B8-521917D7DEAC}" srcOrd="2" destOrd="0" presId="urn:microsoft.com/office/officeart/2018/2/layout/IconLabelList"/>
    <dgm:cxn modelId="{7A142B93-A60E-499C-9CFA-9D189A819400}" type="presParOf" srcId="{C3088A38-995F-4EC6-9F78-BAFAEAF4162C}" destId="{F24FB88B-8951-44CD-B4BE-2C3E45E0842B}" srcOrd="5" destOrd="0" presId="urn:microsoft.com/office/officeart/2018/2/layout/IconLabelList"/>
    <dgm:cxn modelId="{20163A68-75F5-44F6-9927-09DCCE388A92}" type="presParOf" srcId="{C3088A38-995F-4EC6-9F78-BAFAEAF4162C}" destId="{01DDB054-2946-4508-A072-B38236E42C83}" srcOrd="6" destOrd="0" presId="urn:microsoft.com/office/officeart/2018/2/layout/IconLabelList"/>
    <dgm:cxn modelId="{09CE9323-EAA4-4B82-9F0D-F359CCDA8B6A}" type="presParOf" srcId="{01DDB054-2946-4508-A072-B38236E42C83}" destId="{57CC4C62-BD4B-45BD-83D8-0A29B71FFADD}" srcOrd="0" destOrd="0" presId="urn:microsoft.com/office/officeart/2018/2/layout/IconLabelList"/>
    <dgm:cxn modelId="{00E6A52B-7785-44B0-9E81-5E535B36D9C2}" type="presParOf" srcId="{01DDB054-2946-4508-A072-B38236E42C83}" destId="{86E0AAC4-6666-4366-86EF-3252C8C6CA8F}" srcOrd="1" destOrd="0" presId="urn:microsoft.com/office/officeart/2018/2/layout/IconLabelList"/>
    <dgm:cxn modelId="{1AC9DBE9-0C51-4503-853A-8C4861CAF6F0}" type="presParOf" srcId="{01DDB054-2946-4508-A072-B38236E42C83}" destId="{C247C313-91DA-4206-839D-B34E91EFC201}" srcOrd="2" destOrd="0" presId="urn:microsoft.com/office/officeart/2018/2/layout/IconLabelList"/>
    <dgm:cxn modelId="{C8F9B698-9826-4724-A42C-55F49E6BF186}" type="presParOf" srcId="{C3088A38-995F-4EC6-9F78-BAFAEAF4162C}" destId="{C71F7B83-B8BC-43D9-B497-AE47E4C88717}" srcOrd="7" destOrd="0" presId="urn:microsoft.com/office/officeart/2018/2/layout/IconLabelList"/>
    <dgm:cxn modelId="{DAD38633-DBED-4F24-BA6B-25A5CEB33A90}" type="presParOf" srcId="{C3088A38-995F-4EC6-9F78-BAFAEAF4162C}" destId="{5695538A-F7DD-43EC-A3B0-2C1F8C3AF035}" srcOrd="8" destOrd="0" presId="urn:microsoft.com/office/officeart/2018/2/layout/IconLabelList"/>
    <dgm:cxn modelId="{1869F36E-73FF-4754-B409-9104D6A98DBE}" type="presParOf" srcId="{5695538A-F7DD-43EC-A3B0-2C1F8C3AF035}" destId="{E86A0C04-E9B4-4015-A6A8-3FB1046B29CE}" srcOrd="0" destOrd="0" presId="urn:microsoft.com/office/officeart/2018/2/layout/IconLabelList"/>
    <dgm:cxn modelId="{54B8F459-9671-407B-B84D-A7FFEBB60860}" type="presParOf" srcId="{5695538A-F7DD-43EC-A3B0-2C1F8C3AF035}" destId="{D2D79CFB-0CF4-4C0C-BEB0-EA6D92F581EA}" srcOrd="1" destOrd="0" presId="urn:microsoft.com/office/officeart/2018/2/layout/IconLabelList"/>
    <dgm:cxn modelId="{51C536F9-1FA0-44CE-9D1E-FD740B440BAF}" type="presParOf" srcId="{5695538A-F7DD-43EC-A3B0-2C1F8C3AF035}" destId="{4218699A-9F44-43C4-BACD-AFA07472911A}" srcOrd="2" destOrd="0" presId="urn:microsoft.com/office/officeart/2018/2/layout/IconLabelList"/>
    <dgm:cxn modelId="{CBD8E173-8FF2-4147-A452-CB5902F74766}" type="presParOf" srcId="{C3088A38-995F-4EC6-9F78-BAFAEAF4162C}" destId="{0054ECED-2F46-4FA7-AC87-F6DA2C7F139B}" srcOrd="9" destOrd="0" presId="urn:microsoft.com/office/officeart/2018/2/layout/IconLabelList"/>
    <dgm:cxn modelId="{B3AEBC78-F1D7-4B6B-9A07-9CD4B198318A}" type="presParOf" srcId="{C3088A38-995F-4EC6-9F78-BAFAEAF4162C}" destId="{07CB86F6-7387-449F-BCEA-84E42CC7E22F}" srcOrd="10" destOrd="0" presId="urn:microsoft.com/office/officeart/2018/2/layout/IconLabelList"/>
    <dgm:cxn modelId="{7017E9A6-263D-4B42-9D6F-F02771954F87}" type="presParOf" srcId="{07CB86F6-7387-449F-BCEA-84E42CC7E22F}" destId="{5421B5D6-8F0B-4CBE-B7B3-DBCDD202F370}" srcOrd="0" destOrd="0" presId="urn:microsoft.com/office/officeart/2018/2/layout/IconLabelList"/>
    <dgm:cxn modelId="{9FCAD470-9165-4DA1-AE87-FD2EBE7658E2}" type="presParOf" srcId="{07CB86F6-7387-449F-BCEA-84E42CC7E22F}" destId="{EBBF4D40-2EF1-4012-ABEC-74915D189F7E}" srcOrd="1" destOrd="0" presId="urn:microsoft.com/office/officeart/2018/2/layout/IconLabelList"/>
    <dgm:cxn modelId="{6D2E5301-001D-4A69-BEC3-5A5EC2C873EC}" type="presParOf" srcId="{07CB86F6-7387-449F-BCEA-84E42CC7E22F}" destId="{F8CD23AD-0F84-4328-BCA7-961CDC0F9CC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CA4F3-8F30-418C-9B3B-9FAE6FBB2AFD}">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1DE14D-271D-4E48-A734-F66D4AA6B04D}">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0EBE8A2-D7D4-4676-91C2-0669EA92AE50}">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fr-CA" sz="1900" b="0" i="0" strike="noStrike" kern="1200" cap="none" spc="0" baseline="0">
              <a:solidFill>
                <a:srgbClr val="000000"/>
              </a:solidFill>
              <a:effectLst/>
              <a:latin typeface="Calibri"/>
              <a:ea typeface="Calibri"/>
              <a:cs typeface="Calibri"/>
            </a:rPr>
            <a:t>Tout le monde veut faire partie d’une équipe respectueuse et prospère</a:t>
          </a:r>
          <a:endParaRPr lang="en-US" kern="1200"/>
        </a:p>
      </dsp:txBody>
      <dsp:txXfrm>
        <a:off x="1176411" y="2009"/>
        <a:ext cx="6898424" cy="1018537"/>
      </dsp:txXfrm>
    </dsp:sp>
    <dsp:sp modelId="{62399D1D-6A37-4655-9B96-57525ECC5F52}">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1AAD55-36A6-40B9-B55F-EEF840079F1A}">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238B2-9DB9-4BD7-8219-1D04AF10EADE}">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fr-CA" sz="1900" b="0" i="0" strike="noStrike" kern="1200" cap="none" spc="0" baseline="0">
              <a:solidFill>
                <a:srgbClr val="000000"/>
              </a:solidFill>
              <a:effectLst/>
              <a:latin typeface="Calibri"/>
              <a:ea typeface="Calibri"/>
              <a:cs typeface="Calibri"/>
            </a:rPr>
            <a:t>La V&amp;E de 168 respecte les principes de prévention de la discrimination et du harcèlement, qui nécessitent l’engagement de tous</a:t>
          </a:r>
          <a:endParaRPr lang="en-US" kern="1200"/>
        </a:p>
      </dsp:txBody>
      <dsp:txXfrm>
        <a:off x="1176411" y="1275181"/>
        <a:ext cx="6898424" cy="1018537"/>
      </dsp:txXfrm>
    </dsp:sp>
    <dsp:sp modelId="{2194DC87-0EB3-47A9-A710-50B67ABE9595}">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043F58-D2C7-4873-8DE7-E85D1568F29E}">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1693E8-D0B4-4833-BD20-F0400943806F}">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fr-CA" sz="1900" b="0" i="0" strike="noStrike" kern="1200" cap="none" spc="0" baseline="0">
              <a:solidFill>
                <a:srgbClr val="000000"/>
              </a:solidFill>
              <a:effectLst/>
              <a:latin typeface="Calibri"/>
              <a:ea typeface="Calibri"/>
              <a:cs typeface="Calibri"/>
            </a:rPr>
            <a:t>RPM ne tolère pas le manque de respect, le harcèlement ou la discrimination sous quelque forme que ce soit</a:t>
          </a:r>
          <a:endParaRPr lang="en-US" kern="1200"/>
        </a:p>
      </dsp:txBody>
      <dsp:txXfrm>
        <a:off x="1176411" y="2548354"/>
        <a:ext cx="6898424" cy="1018537"/>
      </dsp:txXfrm>
    </dsp:sp>
    <dsp:sp modelId="{AEF938DC-0277-4425-B5AA-B6E145ABDF3E}">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8DF815-E4EC-4C8B-89A3-02381B28C402}">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931F5D-5E16-4A87-A9D2-51F34F2AEE47}">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fr-CA" sz="1900" b="0" i="0" strike="noStrike" kern="1200" cap="none" spc="0" baseline="0">
              <a:solidFill>
                <a:srgbClr val="000000"/>
              </a:solidFill>
              <a:effectLst/>
              <a:latin typeface="Calibri"/>
              <a:ea typeface="Calibri"/>
              <a:cs typeface="Calibri"/>
            </a:rPr>
            <a:t>Nous devons tous nous assurer que notre conduite reflète les valeurs de RPM, et nous devons prendre des mesures si nous constatons une conduite inappropriée</a:t>
          </a:r>
          <a:endParaRPr lang="en-US" kern="1200"/>
        </a:p>
      </dsp:txBody>
      <dsp:txXfrm>
        <a:off x="1176411" y="3821526"/>
        <a:ext cx="6898424" cy="10185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8FA57-199B-4FDE-9C3F-99E925313025}">
      <dsp:nvSpPr>
        <dsp:cNvPr id="0" name=""/>
        <dsp:cNvSpPr/>
      </dsp:nvSpPr>
      <dsp:spPr>
        <a:xfrm>
          <a:off x="129323"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fr-CA" sz="2500" b="0" i="0" strike="noStrike" kern="1200" cap="none" spc="0" baseline="0">
              <a:solidFill>
                <a:srgbClr val="FFFFFF"/>
              </a:solidFill>
              <a:effectLst/>
              <a:latin typeface="Calibri"/>
              <a:ea typeface="Calibri"/>
              <a:cs typeface="Calibri"/>
            </a:rPr>
            <a:t>Votre comportement rend-il les gens mal à l’aise ou crée-t-il des conflits inutiles?</a:t>
          </a:r>
          <a:endParaRPr lang="en-US" kern="1200"/>
        </a:p>
      </dsp:txBody>
      <dsp:txXfrm>
        <a:off x="129323" y="1740"/>
        <a:ext cx="3721994" cy="2233196"/>
      </dsp:txXfrm>
    </dsp:sp>
    <dsp:sp modelId="{8E972E1B-CF68-4A49-915B-097B6B17B149}">
      <dsp:nvSpPr>
        <dsp:cNvPr id="0" name=""/>
        <dsp:cNvSpPr/>
      </dsp:nvSpPr>
      <dsp:spPr>
        <a:xfrm>
          <a:off x="4223517"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fr-CA" sz="2500" b="0" i="0" strike="noStrike" kern="1200" cap="none" spc="0" baseline="0">
              <a:solidFill>
                <a:srgbClr val="FFFFFF"/>
              </a:solidFill>
              <a:effectLst/>
              <a:latin typeface="Calibri"/>
              <a:ea typeface="Calibri"/>
              <a:cs typeface="Calibri"/>
            </a:rPr>
            <a:t>Seriez-vous gêné si vos amis, votre famille ou vos leaders communautaires apprenaient votre comportement?</a:t>
          </a:r>
          <a:endParaRPr lang="en-US" kern="1200"/>
        </a:p>
      </dsp:txBody>
      <dsp:txXfrm>
        <a:off x="4223517" y="1740"/>
        <a:ext cx="3721994" cy="2233196"/>
      </dsp:txXfrm>
    </dsp:sp>
    <dsp:sp modelId="{243CC102-BC16-4CF6-99B1-D3653BCF54DD}">
      <dsp:nvSpPr>
        <dsp:cNvPr id="0" name=""/>
        <dsp:cNvSpPr/>
      </dsp:nvSpPr>
      <dsp:spPr>
        <a:xfrm>
          <a:off x="129323"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fr-CA" sz="2500" b="0" i="0" strike="noStrike" kern="1200" cap="none" spc="0" baseline="0">
              <a:solidFill>
                <a:srgbClr val="FFFFFF"/>
              </a:solidFill>
              <a:effectLst/>
              <a:latin typeface="Calibri"/>
              <a:ea typeface="Calibri"/>
              <a:cs typeface="Calibri"/>
            </a:rPr>
            <a:t>Votre comportement est-il pertinent ou nécessaire à votre travail ou à votre rendement?</a:t>
          </a:r>
          <a:endParaRPr lang="en-US" kern="1200"/>
        </a:p>
      </dsp:txBody>
      <dsp:txXfrm>
        <a:off x="129323" y="2607136"/>
        <a:ext cx="3721994" cy="2233196"/>
      </dsp:txXfrm>
    </dsp:sp>
    <dsp:sp modelId="{3345AED3-E8AE-40AD-B56E-281783EF31F5}">
      <dsp:nvSpPr>
        <dsp:cNvPr id="0" name=""/>
        <dsp:cNvSpPr/>
      </dsp:nvSpPr>
      <dsp:spPr>
        <a:xfrm>
          <a:off x="4223517"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fr-CA" sz="2500" b="0" i="0" strike="noStrike" kern="1200" cap="none" spc="0" baseline="0">
              <a:solidFill>
                <a:srgbClr val="FFFFFF"/>
              </a:solidFill>
              <a:effectLst/>
              <a:latin typeface="Calibri"/>
              <a:ea typeface="Calibri"/>
              <a:cs typeface="Calibri"/>
            </a:rPr>
            <a:t>Si vous répondez oui à l’une de ces questions, demandez-vous si ce que vous faites ou dites est approprié.</a:t>
          </a:r>
          <a:endParaRPr lang="en-US" kern="1200"/>
        </a:p>
      </dsp:txBody>
      <dsp:txXfrm>
        <a:off x="4223517" y="2607136"/>
        <a:ext cx="3721994" cy="22331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F51E0D-D045-4E2B-AB0C-4F2EC15C2742}">
      <dsp:nvSpPr>
        <dsp:cNvPr id="0" name=""/>
        <dsp:cNvSpPr/>
      </dsp:nvSpPr>
      <dsp:spPr>
        <a:xfrm>
          <a:off x="0" y="600"/>
          <a:ext cx="1524000" cy="567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Contact avec les yeux</a:t>
          </a:r>
        </a:p>
      </dsp:txBody>
      <dsp:txXfrm>
        <a:off x="0" y="600"/>
        <a:ext cx="1524000" cy="567896"/>
      </dsp:txXfrm>
    </dsp:sp>
    <dsp:sp modelId="{FC80247D-E118-4105-90BF-F29AB52D411B}">
      <dsp:nvSpPr>
        <dsp:cNvPr id="0" name=""/>
        <dsp:cNvSpPr/>
      </dsp:nvSpPr>
      <dsp:spPr>
        <a:xfrm>
          <a:off x="1523999" y="600"/>
          <a:ext cx="304800" cy="567896"/>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29079-7C2E-4F45-A6B9-1B7792F83AEF}">
      <dsp:nvSpPr>
        <dsp:cNvPr id="0" name=""/>
        <dsp:cNvSpPr/>
      </dsp:nvSpPr>
      <dsp:spPr>
        <a:xfrm>
          <a:off x="1950719" y="600"/>
          <a:ext cx="4145280" cy="5678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La personne établit-elle un contact visuel? Ou l’évitent-ils?</a:t>
          </a:r>
        </a:p>
      </dsp:txBody>
      <dsp:txXfrm>
        <a:off x="1950719" y="600"/>
        <a:ext cx="4145280" cy="567896"/>
      </dsp:txXfrm>
    </dsp:sp>
    <dsp:sp modelId="{33D9AD84-C2DD-43AA-B8C0-6E15771BE78B}">
      <dsp:nvSpPr>
        <dsp:cNvPr id="0" name=""/>
        <dsp:cNvSpPr/>
      </dsp:nvSpPr>
      <dsp:spPr>
        <a:xfrm>
          <a:off x="0" y="683313"/>
          <a:ext cx="1524000" cy="567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Expressions faciales</a:t>
          </a:r>
        </a:p>
      </dsp:txBody>
      <dsp:txXfrm>
        <a:off x="0" y="683313"/>
        <a:ext cx="1524000" cy="567896"/>
      </dsp:txXfrm>
    </dsp:sp>
    <dsp:sp modelId="{9117B35D-C06B-428F-8A45-50C11E8FFA23}">
      <dsp:nvSpPr>
        <dsp:cNvPr id="0" name=""/>
        <dsp:cNvSpPr/>
      </dsp:nvSpPr>
      <dsp:spPr>
        <a:xfrm>
          <a:off x="1524000" y="585705"/>
          <a:ext cx="304800" cy="76311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E5CFAF-7A5E-4128-8997-A5651A906319}">
      <dsp:nvSpPr>
        <dsp:cNvPr id="0" name=""/>
        <dsp:cNvSpPr/>
      </dsp:nvSpPr>
      <dsp:spPr>
        <a:xfrm>
          <a:off x="1950720" y="585705"/>
          <a:ext cx="4145280" cy="7631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Le visage de la personne exprime-t-il de la chaleur et de l’intérêt? Ou est-il vide ou inconfortable?</a:t>
          </a:r>
        </a:p>
      </dsp:txBody>
      <dsp:txXfrm>
        <a:off x="1950720" y="585705"/>
        <a:ext cx="4145280" cy="763110"/>
      </dsp:txXfrm>
    </dsp:sp>
    <dsp:sp modelId="{5400C3F5-CC03-4C92-9C64-BD6ED3005EC2}">
      <dsp:nvSpPr>
        <dsp:cNvPr id="0" name=""/>
        <dsp:cNvSpPr/>
      </dsp:nvSpPr>
      <dsp:spPr>
        <a:xfrm>
          <a:off x="0" y="1474724"/>
          <a:ext cx="1524000" cy="331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Ton de la voix</a:t>
          </a:r>
        </a:p>
      </dsp:txBody>
      <dsp:txXfrm>
        <a:off x="0" y="1474724"/>
        <a:ext cx="1524000" cy="331272"/>
      </dsp:txXfrm>
    </dsp:sp>
    <dsp:sp modelId="{C3AF3EC1-996A-46C1-B710-476892751235}">
      <dsp:nvSpPr>
        <dsp:cNvPr id="0" name=""/>
        <dsp:cNvSpPr/>
      </dsp:nvSpPr>
      <dsp:spPr>
        <a:xfrm>
          <a:off x="1524000" y="1366025"/>
          <a:ext cx="304800" cy="54867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7B468-0784-4F3F-9515-BBB3492CC8A0}">
      <dsp:nvSpPr>
        <dsp:cNvPr id="0" name=""/>
        <dsp:cNvSpPr/>
      </dsp:nvSpPr>
      <dsp:spPr>
        <a:xfrm>
          <a:off x="1950720" y="1366025"/>
          <a:ext cx="4145280" cy="54867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La voix de la personne projette-t-elle du réconfort ou de l’intérêt? Ou est-il filtré?</a:t>
          </a:r>
        </a:p>
      </dsp:txBody>
      <dsp:txXfrm>
        <a:off x="1950720" y="1366025"/>
        <a:ext cx="4145280" cy="548670"/>
      </dsp:txXfrm>
    </dsp:sp>
    <dsp:sp modelId="{85BD6EBC-B7BD-4283-9195-03758FD188DF}">
      <dsp:nvSpPr>
        <dsp:cNvPr id="0" name=""/>
        <dsp:cNvSpPr/>
      </dsp:nvSpPr>
      <dsp:spPr>
        <a:xfrm>
          <a:off x="0" y="1931905"/>
          <a:ext cx="1524000" cy="567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Posture et geste</a:t>
          </a:r>
        </a:p>
      </dsp:txBody>
      <dsp:txXfrm>
        <a:off x="0" y="1931905"/>
        <a:ext cx="1524000" cy="567896"/>
      </dsp:txXfrm>
    </dsp:sp>
    <dsp:sp modelId="{E0FC9C9B-F53E-4A4C-8BA2-1529EE697C2B}">
      <dsp:nvSpPr>
        <dsp:cNvPr id="0" name=""/>
        <dsp:cNvSpPr/>
      </dsp:nvSpPr>
      <dsp:spPr>
        <a:xfrm>
          <a:off x="1524000" y="1931905"/>
          <a:ext cx="304800" cy="567896"/>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CD8488-674C-4C0C-9655-2C89CD3ACFBA}">
      <dsp:nvSpPr>
        <dsp:cNvPr id="0" name=""/>
        <dsp:cNvSpPr/>
      </dsp:nvSpPr>
      <dsp:spPr>
        <a:xfrm>
          <a:off x="1950720" y="1931905"/>
          <a:ext cx="4145280" cy="5678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Le corps de la personne est-il détendu? Ou est-ce rigide et immobile?</a:t>
          </a:r>
        </a:p>
      </dsp:txBody>
      <dsp:txXfrm>
        <a:off x="1950720" y="1931905"/>
        <a:ext cx="4145280" cy="567896"/>
      </dsp:txXfrm>
    </dsp:sp>
    <dsp:sp modelId="{A3CD7AA6-38F4-4A44-AF0C-AA53CC2A4238}">
      <dsp:nvSpPr>
        <dsp:cNvPr id="0" name=""/>
        <dsp:cNvSpPr/>
      </dsp:nvSpPr>
      <dsp:spPr>
        <a:xfrm>
          <a:off x="0" y="2614618"/>
          <a:ext cx="1524000" cy="5678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Calendrier et lieu</a:t>
          </a:r>
        </a:p>
      </dsp:txBody>
      <dsp:txXfrm>
        <a:off x="0" y="2614618"/>
        <a:ext cx="1524000" cy="567896"/>
      </dsp:txXfrm>
    </dsp:sp>
    <dsp:sp modelId="{A0BBA243-A395-4F9E-9DD5-840A3D69F33B}">
      <dsp:nvSpPr>
        <dsp:cNvPr id="0" name=""/>
        <dsp:cNvSpPr/>
      </dsp:nvSpPr>
      <dsp:spPr>
        <a:xfrm>
          <a:off x="1524000" y="2517011"/>
          <a:ext cx="304800" cy="76311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AAEBA6-B695-4691-8B00-49D1E4CA4B7B}">
      <dsp:nvSpPr>
        <dsp:cNvPr id="0" name=""/>
        <dsp:cNvSpPr/>
      </dsp:nvSpPr>
      <dsp:spPr>
        <a:xfrm>
          <a:off x="1950720" y="2517011"/>
          <a:ext cx="4145280" cy="76311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Y a-t-il un flux d’information facile d’avant en arrière? Ou est-ce en grande partie une conversation unidirectionnelle?</a:t>
          </a:r>
        </a:p>
      </dsp:txBody>
      <dsp:txXfrm>
        <a:off x="1950720" y="2517011"/>
        <a:ext cx="4145280" cy="763110"/>
      </dsp:txXfrm>
    </dsp:sp>
    <dsp:sp modelId="{1165B149-41F8-4D08-BA1A-5857706E9CDE}">
      <dsp:nvSpPr>
        <dsp:cNvPr id="0" name=""/>
        <dsp:cNvSpPr/>
      </dsp:nvSpPr>
      <dsp:spPr>
        <a:xfrm>
          <a:off x="0" y="3514728"/>
          <a:ext cx="1524000" cy="331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fr-CA" sz="1800" b="0" i="0" strike="noStrike" kern="1200" cap="none" spc="0" baseline="0">
              <a:solidFill>
                <a:srgbClr val="000000"/>
              </a:solidFill>
              <a:effectLst/>
              <a:latin typeface="Calibri"/>
              <a:ea typeface="Calibri"/>
              <a:cs typeface="Calibri"/>
            </a:rPr>
            <a:t>Engagement</a:t>
          </a:r>
        </a:p>
      </dsp:txBody>
      <dsp:txXfrm>
        <a:off x="0" y="3514728"/>
        <a:ext cx="1524000" cy="331272"/>
      </dsp:txXfrm>
    </dsp:sp>
    <dsp:sp modelId="{0A6E157B-C627-4B14-8B26-59B96448430A}">
      <dsp:nvSpPr>
        <dsp:cNvPr id="0" name=""/>
        <dsp:cNvSpPr/>
      </dsp:nvSpPr>
      <dsp:spPr>
        <a:xfrm>
          <a:off x="1524000" y="3297330"/>
          <a:ext cx="304800" cy="76606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46999F-8B22-4EFB-AAE0-C9D0AFC0A833}">
      <dsp:nvSpPr>
        <dsp:cNvPr id="0" name=""/>
        <dsp:cNvSpPr/>
      </dsp:nvSpPr>
      <dsp:spPr>
        <a:xfrm>
          <a:off x="1950720" y="3297330"/>
          <a:ext cx="4145280" cy="76606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La personne semble-t-elle apprécier la conversation? Ou cherche-t-il à quitter l’interaction?</a:t>
          </a:r>
        </a:p>
      </dsp:txBody>
      <dsp:txXfrm>
        <a:off x="1950720" y="3297330"/>
        <a:ext cx="4145280" cy="76606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D0F38-1697-4DDF-87B5-31AB4FDDCA6E}">
      <dsp:nvSpPr>
        <dsp:cNvPr id="0" name=""/>
        <dsp:cNvSpPr/>
      </dsp:nvSpPr>
      <dsp:spPr>
        <a:xfrm>
          <a:off x="349150"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2CB9A9-E8F4-48A6-863C-3857BF4A1898}">
      <dsp:nvSpPr>
        <dsp:cNvPr id="0" name=""/>
        <dsp:cNvSpPr/>
      </dsp:nvSpPr>
      <dsp:spPr>
        <a:xfrm>
          <a:off x="581322" y="366544"/>
          <a:ext cx="625078" cy="6250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A18965-2D4D-4724-835A-2A765ACE07BF}">
      <dsp:nvSpPr>
        <dsp:cNvPr id="0" name=""/>
        <dsp:cNvSpPr/>
      </dsp:nvSpPr>
      <dsp:spPr>
        <a:xfrm>
          <a:off x="892"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fr-CA" sz="1110" b="0" i="0" strike="noStrike" kern="1200" cap="all" spc="0" baseline="0">
              <a:solidFill>
                <a:srgbClr val="000000"/>
              </a:solidFill>
              <a:effectLst/>
              <a:latin typeface="Calibri"/>
              <a:ea typeface="Calibri"/>
              <a:cs typeface="Calibri"/>
            </a:rPr>
            <a:t>Perturber, confronter, soutenir – mais seulement iF approprié!</a:t>
          </a:r>
          <a:endParaRPr lang="en-US" kern="1200"/>
        </a:p>
      </dsp:txBody>
      <dsp:txXfrm>
        <a:off x="892" y="1563122"/>
        <a:ext cx="1785937" cy="781347"/>
      </dsp:txXfrm>
    </dsp:sp>
    <dsp:sp modelId="{71CADC7A-C1B0-44C3-93BB-21CE4C51B4F2}">
      <dsp:nvSpPr>
        <dsp:cNvPr id="0" name=""/>
        <dsp:cNvSpPr/>
      </dsp:nvSpPr>
      <dsp:spPr>
        <a:xfrm>
          <a:off x="2447627"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7A4B8A-9FB1-49BB-AD5F-E16F4D6B1202}">
      <dsp:nvSpPr>
        <dsp:cNvPr id="0" name=""/>
        <dsp:cNvSpPr/>
      </dsp:nvSpPr>
      <dsp:spPr>
        <a:xfrm>
          <a:off x="2679799" y="366544"/>
          <a:ext cx="625078" cy="6250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F8B6D1-5618-4F35-9FB1-447D4C8D3EB4}">
      <dsp:nvSpPr>
        <dsp:cNvPr id="0" name=""/>
        <dsp:cNvSpPr/>
      </dsp:nvSpPr>
      <dsp:spPr>
        <a:xfrm>
          <a:off x="2099369"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fr-CA" sz="1110" b="0" i="0" strike="noStrike" kern="1200" cap="all" spc="0" baseline="0">
              <a:solidFill>
                <a:srgbClr val="000000"/>
              </a:solidFill>
              <a:effectLst/>
              <a:latin typeface="Calibri"/>
              <a:ea typeface="Calibri"/>
              <a:cs typeface="Calibri"/>
            </a:rPr>
            <a:t>Nous voulons savoir si vous pensez que le comportement d’une personne est inapproprié ou illégal. </a:t>
          </a:r>
          <a:endParaRPr lang="en-US" kern="1200"/>
        </a:p>
      </dsp:txBody>
      <dsp:txXfrm>
        <a:off x="2099369" y="1563122"/>
        <a:ext cx="1785937" cy="781347"/>
      </dsp:txXfrm>
    </dsp:sp>
    <dsp:sp modelId="{1FE7E204-545F-440C-8C97-4A51872D9726}">
      <dsp:nvSpPr>
        <dsp:cNvPr id="0" name=""/>
        <dsp:cNvSpPr/>
      </dsp:nvSpPr>
      <dsp:spPr>
        <a:xfrm>
          <a:off x="349150"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4209-844A-4978-977D-D9B2596F75E9}">
      <dsp:nvSpPr>
        <dsp:cNvPr id="0" name=""/>
        <dsp:cNvSpPr/>
      </dsp:nvSpPr>
      <dsp:spPr>
        <a:xfrm>
          <a:off x="581322" y="3023126"/>
          <a:ext cx="625078" cy="6250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BC5A38-EAF4-4B1E-9660-0ECB3613D90C}">
      <dsp:nvSpPr>
        <dsp:cNvPr id="0" name=""/>
        <dsp:cNvSpPr/>
      </dsp:nvSpPr>
      <dsp:spPr>
        <a:xfrm>
          <a:off x="892"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fr-CA" sz="1110" b="0" i="0" strike="noStrike" kern="1200" cap="all" spc="0" baseline="0">
              <a:solidFill>
                <a:srgbClr val="000000"/>
              </a:solidFill>
              <a:effectLst/>
              <a:latin typeface="Calibri"/>
              <a:ea typeface="Calibri"/>
              <a:cs typeface="Calibri"/>
            </a:rPr>
            <a:t>Toutes les plaintes seront prises au sérieux, feront l’objet d’une enquête et feront l’objet d’une action, le cas échéant. </a:t>
          </a:r>
          <a:endParaRPr lang="en-US" kern="1200"/>
        </a:p>
      </dsp:txBody>
      <dsp:txXfrm>
        <a:off x="892" y="4219704"/>
        <a:ext cx="1785937" cy="781347"/>
      </dsp:txXfrm>
    </dsp:sp>
    <dsp:sp modelId="{10143779-9C38-42BF-84D1-1850484485B4}">
      <dsp:nvSpPr>
        <dsp:cNvPr id="0" name=""/>
        <dsp:cNvSpPr/>
      </dsp:nvSpPr>
      <dsp:spPr>
        <a:xfrm>
          <a:off x="2447627"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7D5008-931D-4678-B3D6-809AC5E131FA}">
      <dsp:nvSpPr>
        <dsp:cNvPr id="0" name=""/>
        <dsp:cNvSpPr/>
      </dsp:nvSpPr>
      <dsp:spPr>
        <a:xfrm>
          <a:off x="2679799" y="3023126"/>
          <a:ext cx="625078" cy="6250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0CDB9-D0AE-470D-ABFC-DED3FE7A9B30}">
      <dsp:nvSpPr>
        <dsp:cNvPr id="0" name=""/>
        <dsp:cNvSpPr/>
      </dsp:nvSpPr>
      <dsp:spPr>
        <a:xfrm>
          <a:off x="2099369"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fr-CA" sz="1110" b="0" i="0" strike="noStrike" kern="1200" cap="all" spc="0" baseline="0">
              <a:solidFill>
                <a:srgbClr val="000000"/>
              </a:solidFill>
              <a:effectLst/>
              <a:latin typeface="Calibri"/>
              <a:ea typeface="Calibri"/>
              <a:cs typeface="Calibri"/>
            </a:rPr>
            <a:t>Communiquez avec votre gestionnaire, les RH locales, l’équipe de conformité des tr/min ou la ligne d’assistance</a:t>
          </a:r>
          <a:endParaRPr lang="en-US" kern="1200"/>
        </a:p>
      </dsp:txBody>
      <dsp:txXfrm>
        <a:off x="2099369" y="4219704"/>
        <a:ext cx="1785937" cy="78134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512D9-B40D-47F9-A846-C726F51B1EC6}">
      <dsp:nvSpPr>
        <dsp:cNvPr id="0" name=""/>
        <dsp:cNvSpPr/>
      </dsp:nvSpPr>
      <dsp:spPr>
        <a:xfrm>
          <a:off x="0" y="2522"/>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508474-D63E-4A16-9167-594C791466C4}">
      <dsp:nvSpPr>
        <dsp:cNvPr id="0" name=""/>
        <dsp:cNvSpPr/>
      </dsp:nvSpPr>
      <dsp:spPr>
        <a:xfrm>
          <a:off x="128269" y="97929"/>
          <a:ext cx="233445" cy="23321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AD54F1-4A2A-422E-A86B-590182CAB8AA}">
      <dsp:nvSpPr>
        <dsp:cNvPr id="0" name=""/>
        <dsp:cNvSpPr/>
      </dsp:nvSpPr>
      <dsp:spPr>
        <a:xfrm>
          <a:off x="489984" y="2522"/>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Congédiement</a:t>
          </a:r>
          <a:endParaRPr lang="en-US" kern="1200"/>
        </a:p>
      </dsp:txBody>
      <dsp:txXfrm>
        <a:off x="489984" y="2522"/>
        <a:ext cx="7533534" cy="516788"/>
      </dsp:txXfrm>
    </dsp:sp>
    <dsp:sp modelId="{02EE004D-26FC-47D1-8269-69D20901CA23}">
      <dsp:nvSpPr>
        <dsp:cNvPr id="0" name=""/>
        <dsp:cNvSpPr/>
      </dsp:nvSpPr>
      <dsp:spPr>
        <a:xfrm>
          <a:off x="0" y="648508"/>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412361-0DD8-455E-ABDC-E515BF65EB9D}">
      <dsp:nvSpPr>
        <dsp:cNvPr id="0" name=""/>
        <dsp:cNvSpPr/>
      </dsp:nvSpPr>
      <dsp:spPr>
        <a:xfrm>
          <a:off x="128269" y="743915"/>
          <a:ext cx="233445" cy="23321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7B8EB0-C577-4054-84C1-818EA38BF5B9}">
      <dsp:nvSpPr>
        <dsp:cNvPr id="0" name=""/>
        <dsp:cNvSpPr/>
      </dsp:nvSpPr>
      <dsp:spPr>
        <a:xfrm>
          <a:off x="489984" y="648508"/>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Rétrogradation</a:t>
          </a:r>
          <a:endParaRPr lang="en-US" kern="1200"/>
        </a:p>
      </dsp:txBody>
      <dsp:txXfrm>
        <a:off x="489984" y="648508"/>
        <a:ext cx="7533534" cy="516788"/>
      </dsp:txXfrm>
    </dsp:sp>
    <dsp:sp modelId="{3951A61D-F069-4616-989D-20A828000FE1}">
      <dsp:nvSpPr>
        <dsp:cNvPr id="0" name=""/>
        <dsp:cNvSpPr/>
      </dsp:nvSpPr>
      <dsp:spPr>
        <a:xfrm>
          <a:off x="0" y="1294493"/>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44930-8854-438D-90B1-22C51B82B008}">
      <dsp:nvSpPr>
        <dsp:cNvPr id="0" name=""/>
        <dsp:cNvSpPr/>
      </dsp:nvSpPr>
      <dsp:spPr>
        <a:xfrm>
          <a:off x="128269" y="1389900"/>
          <a:ext cx="233445" cy="2332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5091B8-29C0-4ABE-8DEC-334A61052E0C}">
      <dsp:nvSpPr>
        <dsp:cNvPr id="0" name=""/>
        <dsp:cNvSpPr/>
      </dsp:nvSpPr>
      <dsp:spPr>
        <a:xfrm>
          <a:off x="489984" y="1294493"/>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Transfert</a:t>
          </a:r>
          <a:endParaRPr lang="en-US" kern="1200"/>
        </a:p>
      </dsp:txBody>
      <dsp:txXfrm>
        <a:off x="489984" y="1294493"/>
        <a:ext cx="7533534" cy="516788"/>
      </dsp:txXfrm>
    </dsp:sp>
    <dsp:sp modelId="{2B9FBFC2-2DA2-4537-8E9D-0102188BB8DA}">
      <dsp:nvSpPr>
        <dsp:cNvPr id="0" name=""/>
        <dsp:cNvSpPr/>
      </dsp:nvSpPr>
      <dsp:spPr>
        <a:xfrm>
          <a:off x="0" y="1940479"/>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824A6-FCA5-4A1B-9C93-02EBF6CE40C2}">
      <dsp:nvSpPr>
        <dsp:cNvPr id="0" name=""/>
        <dsp:cNvSpPr/>
      </dsp:nvSpPr>
      <dsp:spPr>
        <a:xfrm>
          <a:off x="128269" y="2035886"/>
          <a:ext cx="233445" cy="23321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89971-F98F-4B5E-A3E6-D8B427874E72}">
      <dsp:nvSpPr>
        <dsp:cNvPr id="0" name=""/>
        <dsp:cNvSpPr/>
      </dsp:nvSpPr>
      <dsp:spPr>
        <a:xfrm>
          <a:off x="489984" y="1940479"/>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Affectations ou horaire de travail moins favorables</a:t>
          </a:r>
          <a:endParaRPr lang="en-US" kern="1200"/>
        </a:p>
      </dsp:txBody>
      <dsp:txXfrm>
        <a:off x="489984" y="1940479"/>
        <a:ext cx="7533534" cy="516788"/>
      </dsp:txXfrm>
    </dsp:sp>
    <dsp:sp modelId="{5A0D2530-66A5-456F-BF2D-18FEAD527C88}">
      <dsp:nvSpPr>
        <dsp:cNvPr id="0" name=""/>
        <dsp:cNvSpPr/>
      </dsp:nvSpPr>
      <dsp:spPr>
        <a:xfrm>
          <a:off x="0" y="2586464"/>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14D602-97C4-4F4E-85C6-8EC0B97D38A5}">
      <dsp:nvSpPr>
        <dsp:cNvPr id="0" name=""/>
        <dsp:cNvSpPr/>
      </dsp:nvSpPr>
      <dsp:spPr>
        <a:xfrm>
          <a:off x="128269" y="2681871"/>
          <a:ext cx="233445" cy="23321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E7E8D9-EBEA-4B3C-B1F3-7D20DA711A7B}">
      <dsp:nvSpPr>
        <dsp:cNvPr id="0" name=""/>
        <dsp:cNvSpPr/>
      </dsp:nvSpPr>
      <dsp:spPr>
        <a:xfrm>
          <a:off x="489984" y="2586464"/>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Fuite de dossiers personnels pour dénigrer ou discréditer une victime ou un témoin de discrimination</a:t>
          </a:r>
          <a:endParaRPr lang="en-US" kern="1200"/>
        </a:p>
      </dsp:txBody>
      <dsp:txXfrm>
        <a:off x="489984" y="2586464"/>
        <a:ext cx="7533534" cy="516788"/>
      </dsp:txXfrm>
    </dsp:sp>
    <dsp:sp modelId="{82650058-36C7-4EF2-A510-6B2A3BC56CBA}">
      <dsp:nvSpPr>
        <dsp:cNvPr id="0" name=""/>
        <dsp:cNvSpPr/>
      </dsp:nvSpPr>
      <dsp:spPr>
        <a:xfrm>
          <a:off x="0" y="3232450"/>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2EC3DD-4747-4D08-8080-FEFD01566235}">
      <dsp:nvSpPr>
        <dsp:cNvPr id="0" name=""/>
        <dsp:cNvSpPr/>
      </dsp:nvSpPr>
      <dsp:spPr>
        <a:xfrm>
          <a:off x="128269" y="3327857"/>
          <a:ext cx="233445" cy="23321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5AEC99-75BD-4251-A255-724AD0F0A785}">
      <dsp:nvSpPr>
        <dsp:cNvPr id="0" name=""/>
        <dsp:cNvSpPr/>
      </dsp:nvSpPr>
      <dsp:spPr>
        <a:xfrm>
          <a:off x="489984" y="3232450"/>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Être échappé ou ostracisé par des collègues</a:t>
          </a:r>
          <a:endParaRPr lang="en-US" kern="1200"/>
        </a:p>
      </dsp:txBody>
      <dsp:txXfrm>
        <a:off x="489984" y="3232450"/>
        <a:ext cx="7533534" cy="516788"/>
      </dsp:txXfrm>
    </dsp:sp>
    <dsp:sp modelId="{BE66F222-4B7E-4DCF-98CD-4A27921714C6}">
      <dsp:nvSpPr>
        <dsp:cNvPr id="0" name=""/>
        <dsp:cNvSpPr/>
      </dsp:nvSpPr>
      <dsp:spPr>
        <a:xfrm>
          <a:off x="0" y="3878435"/>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DFA904-3FD3-466E-BD6D-472D480E10CF}">
      <dsp:nvSpPr>
        <dsp:cNvPr id="0" name=""/>
        <dsp:cNvSpPr/>
      </dsp:nvSpPr>
      <dsp:spPr>
        <a:xfrm>
          <a:off x="128269" y="3973842"/>
          <a:ext cx="233445" cy="233217"/>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759015-1B81-45A3-B24B-BC9FC83003A9}">
      <dsp:nvSpPr>
        <dsp:cNvPr id="0" name=""/>
        <dsp:cNvSpPr/>
      </dsp:nvSpPr>
      <dsp:spPr>
        <a:xfrm>
          <a:off x="489984" y="3878435"/>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fr-CA" sz="1600" b="0" i="0" strike="noStrike" kern="1200" cap="none" spc="0" baseline="0">
              <a:solidFill>
                <a:srgbClr val="000000"/>
              </a:solidFill>
              <a:effectLst/>
              <a:latin typeface="Calibri"/>
              <a:ea typeface="Calibri"/>
              <a:cs typeface="Calibri"/>
            </a:rPr>
            <a:t>Être saboté par des collègues</a:t>
          </a:r>
          <a:endParaRPr lang="en-US" kern="1200"/>
        </a:p>
      </dsp:txBody>
      <dsp:txXfrm>
        <a:off x="489984" y="3878435"/>
        <a:ext cx="7533534" cy="5167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136BE-66B6-43CA-ABD3-5EC058011C77}">
      <dsp:nvSpPr>
        <dsp:cNvPr id="0" name=""/>
        <dsp:cNvSpPr/>
      </dsp:nvSpPr>
      <dsp:spPr>
        <a:xfrm>
          <a:off x="2523" y="100120"/>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fr-CA" sz="2100" b="0" i="0" strike="noStrike" kern="1200" cap="none" spc="0" baseline="0">
              <a:solidFill>
                <a:srgbClr val="FFFFFF"/>
              </a:solidFill>
              <a:effectLst/>
              <a:latin typeface="Calibri"/>
              <a:ea typeface="Calibri"/>
              <a:cs typeface="Calibri"/>
            </a:rPr>
            <a:t>Harcèlement en milieu de travail</a:t>
          </a:r>
          <a:endParaRPr lang="en-GB" kern="1200"/>
        </a:p>
      </dsp:txBody>
      <dsp:txXfrm>
        <a:off x="2523" y="100120"/>
        <a:ext cx="2460301" cy="984120"/>
      </dsp:txXfrm>
    </dsp:sp>
    <dsp:sp modelId="{5A01AD50-A4BE-433F-882C-7262AEE7DECE}">
      <dsp:nvSpPr>
        <dsp:cNvPr id="0" name=""/>
        <dsp:cNvSpPr/>
      </dsp:nvSpPr>
      <dsp:spPr>
        <a:xfrm>
          <a:off x="2523" y="1084241"/>
          <a:ext cx="2460301" cy="36577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fr-CA" sz="2100" b="0" i="0" strike="noStrike" kern="1200" cap="none" spc="0" baseline="0">
              <a:solidFill>
                <a:srgbClr val="000000"/>
              </a:solidFill>
              <a:effectLst/>
              <a:latin typeface="Calibri"/>
              <a:ea typeface="Calibri"/>
              <a:cs typeface="Calibri"/>
            </a:rPr>
            <a:t>Comportement importun ou offensant fondé sur </a:t>
          </a:r>
          <a:r>
            <a:rPr lang="fr-CA" sz="2100" b="0" i="1" strike="noStrike" kern="1200" cap="none" spc="0" baseline="0">
              <a:solidFill>
                <a:srgbClr val="000000"/>
              </a:solidFill>
              <a:effectLst/>
              <a:latin typeface="Calibri"/>
              <a:ea typeface="Calibri"/>
              <a:cs typeface="Calibri"/>
            </a:rPr>
            <a:t>un motif </a:t>
          </a:r>
          <a:r>
            <a:rPr lang="fr-CA" sz="2100" b="0" i="0" strike="noStrike" kern="1200" cap="none" spc="0" baseline="0">
              <a:solidFill>
                <a:srgbClr val="000000"/>
              </a:solidFill>
              <a:effectLst/>
              <a:latin typeface="Calibri"/>
              <a:ea typeface="Calibri"/>
              <a:cs typeface="Calibri"/>
            </a:rPr>
            <a:t>protégé.</a:t>
          </a:r>
        </a:p>
      </dsp:txBody>
      <dsp:txXfrm>
        <a:off x="2523" y="1084241"/>
        <a:ext cx="2460301" cy="3657712"/>
      </dsp:txXfrm>
    </dsp:sp>
    <dsp:sp modelId="{88EAAD68-E779-4ABE-A5DA-0983BBEBC27F}">
      <dsp:nvSpPr>
        <dsp:cNvPr id="0" name=""/>
        <dsp:cNvSpPr/>
      </dsp:nvSpPr>
      <dsp:spPr>
        <a:xfrm>
          <a:off x="2807267" y="100120"/>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fr-CA" sz="2100" b="0" i="0" strike="noStrike" kern="1200" cap="none" spc="0" baseline="0">
              <a:solidFill>
                <a:srgbClr val="FFFFFF"/>
              </a:solidFill>
              <a:effectLst/>
              <a:latin typeface="Calibri"/>
              <a:ea typeface="Calibri"/>
              <a:cs typeface="Calibri"/>
            </a:rPr>
            <a:t>Mises à la terre protégées</a:t>
          </a:r>
          <a:endParaRPr lang="en-GB" kern="1200"/>
        </a:p>
      </dsp:txBody>
      <dsp:txXfrm>
        <a:off x="2807267" y="100120"/>
        <a:ext cx="2460301" cy="984120"/>
      </dsp:txXfrm>
    </dsp:sp>
    <dsp:sp modelId="{E09FF709-B9A1-467B-BBF8-2127A63B2EF3}">
      <dsp:nvSpPr>
        <dsp:cNvPr id="0" name=""/>
        <dsp:cNvSpPr/>
      </dsp:nvSpPr>
      <dsp:spPr>
        <a:xfrm>
          <a:off x="2807267" y="1084241"/>
          <a:ext cx="2460301" cy="36577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fr-CA" sz="2100" b="0" i="0" strike="noStrike" kern="1200" cap="none" spc="0" baseline="0">
              <a:solidFill>
                <a:srgbClr val="000000"/>
              </a:solidFill>
              <a:effectLst/>
              <a:latin typeface="Calibri"/>
              <a:ea typeface="Calibri"/>
              <a:cs typeface="Calibri"/>
            </a:rPr>
            <a:t>Les traits personnels qui ne sont pas autorisés à avoir une incidence sur l’emploi ou les décisions liées à l’emploi. </a:t>
          </a:r>
        </a:p>
        <a:p>
          <a:pPr marL="228600" lvl="1" indent="-228600" algn="l" defTabSz="933450">
            <a:lnSpc>
              <a:spcPct val="100000"/>
            </a:lnSpc>
            <a:spcBef>
              <a:spcPct val="0"/>
            </a:spcBef>
            <a:spcAft>
              <a:spcPct val="15000"/>
            </a:spcAft>
            <a:buChar char="•"/>
          </a:pPr>
          <a:r>
            <a:rPr lang="fr-CA" sz="2100" b="0" i="0" strike="noStrike" kern="1200" cap="none" spc="0" baseline="0">
              <a:solidFill>
                <a:srgbClr val="000000"/>
              </a:solidFill>
              <a:effectLst/>
              <a:latin typeface="Calibri"/>
              <a:ea typeface="Calibri"/>
              <a:cs typeface="Calibri"/>
            </a:rPr>
            <a:t>Les gens peuvent avoir plus d’un terrain protégé</a:t>
          </a:r>
        </a:p>
      </dsp:txBody>
      <dsp:txXfrm>
        <a:off x="2807267" y="1084241"/>
        <a:ext cx="2460301" cy="3657712"/>
      </dsp:txXfrm>
    </dsp:sp>
    <dsp:sp modelId="{F96EBAB5-2385-44A0-9DAE-378482389753}">
      <dsp:nvSpPr>
        <dsp:cNvPr id="0" name=""/>
        <dsp:cNvSpPr/>
      </dsp:nvSpPr>
      <dsp:spPr>
        <a:xfrm>
          <a:off x="5612011" y="100120"/>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fr-CA" sz="2100" b="0" i="0" strike="noStrike" kern="1200" cap="none" spc="0" baseline="0">
              <a:solidFill>
                <a:srgbClr val="FFFFFF"/>
              </a:solidFill>
              <a:effectLst/>
              <a:latin typeface="Calibri"/>
              <a:ea typeface="Calibri"/>
              <a:cs typeface="Calibri"/>
            </a:rPr>
            <a:t>Comportement intersectionnel</a:t>
          </a:r>
          <a:endParaRPr lang="en-GB" kern="1200"/>
        </a:p>
      </dsp:txBody>
      <dsp:txXfrm>
        <a:off x="5612011" y="100120"/>
        <a:ext cx="2460301" cy="984120"/>
      </dsp:txXfrm>
    </dsp:sp>
    <dsp:sp modelId="{205221B7-809E-408A-8761-924C5606E944}">
      <dsp:nvSpPr>
        <dsp:cNvPr id="0" name=""/>
        <dsp:cNvSpPr/>
      </dsp:nvSpPr>
      <dsp:spPr>
        <a:xfrm>
          <a:off x="5612011" y="1084241"/>
          <a:ext cx="2460301" cy="36577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fr-CA" sz="2100" b="0" i="0" strike="noStrike" kern="1200" cap="none" spc="0" baseline="0">
              <a:solidFill>
                <a:srgbClr val="000000"/>
              </a:solidFill>
              <a:effectLst/>
              <a:latin typeface="Calibri"/>
              <a:ea typeface="Calibri"/>
              <a:cs typeface="Calibri"/>
            </a:rPr>
            <a:t>Comportement inapproprié ciblant plus d’un terrain protégé.</a:t>
          </a:r>
        </a:p>
        <a:p>
          <a:pPr marL="285750" lvl="1" indent="-285750" algn="l" defTabSz="1600200">
            <a:lnSpc>
              <a:spcPct val="100000"/>
            </a:lnSpc>
            <a:spcBef>
              <a:spcPct val="0"/>
            </a:spcBef>
            <a:spcAft>
              <a:spcPct val="15000"/>
            </a:spcAft>
            <a:buNone/>
          </a:pPr>
          <a:endParaRPr lang="en-GB" sz="3600" kern="1200"/>
        </a:p>
      </dsp:txBody>
      <dsp:txXfrm>
        <a:off x="5612011" y="1084241"/>
        <a:ext cx="2460301" cy="36577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6F062-E831-4C9D-8295-EBD859E85986}">
      <dsp:nvSpPr>
        <dsp:cNvPr id="0" name=""/>
        <dsp:cNvSpPr/>
      </dsp:nvSpPr>
      <dsp:spPr>
        <a:xfrm>
          <a:off x="2390" y="104515"/>
          <a:ext cx="1896268" cy="113776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Âge (40 ans et plus)</a:t>
          </a:r>
          <a:endParaRPr lang="en-US" kern="1200"/>
        </a:p>
      </dsp:txBody>
      <dsp:txXfrm>
        <a:off x="2390" y="104515"/>
        <a:ext cx="1896268" cy="1137760"/>
      </dsp:txXfrm>
    </dsp:sp>
    <dsp:sp modelId="{314BF5E9-6D32-4139-B1EF-52F90BD3589D}">
      <dsp:nvSpPr>
        <dsp:cNvPr id="0" name=""/>
        <dsp:cNvSpPr/>
      </dsp:nvSpPr>
      <dsp:spPr>
        <a:xfrm>
          <a:off x="2088285" y="104515"/>
          <a:ext cx="1896268" cy="1137760"/>
        </a:xfrm>
        <a:prstGeom prst="rect">
          <a:avLst/>
        </a:prstGeom>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Race/couleur</a:t>
          </a:r>
          <a:endParaRPr lang="en-US" kern="1200"/>
        </a:p>
      </dsp:txBody>
      <dsp:txXfrm>
        <a:off x="2088285" y="104515"/>
        <a:ext cx="1896268" cy="1137760"/>
      </dsp:txXfrm>
    </dsp:sp>
    <dsp:sp modelId="{65B48DC4-277D-4510-87DB-C69F1B7D6DD3}">
      <dsp:nvSpPr>
        <dsp:cNvPr id="0" name=""/>
        <dsp:cNvSpPr/>
      </dsp:nvSpPr>
      <dsp:spPr>
        <a:xfrm>
          <a:off x="4174180" y="104515"/>
          <a:ext cx="1896268" cy="1137760"/>
        </a:xfrm>
        <a:prstGeom prst="rect">
          <a:avLst/>
        </a:prstGeom>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Origine nationale/citoyenneté</a:t>
          </a:r>
          <a:endParaRPr lang="en-US" kern="1200"/>
        </a:p>
      </dsp:txBody>
      <dsp:txXfrm>
        <a:off x="4174180" y="104515"/>
        <a:ext cx="1896268" cy="1137760"/>
      </dsp:txXfrm>
    </dsp:sp>
    <dsp:sp modelId="{C28451D7-32EE-4871-A93E-B1ABC49EF3AC}">
      <dsp:nvSpPr>
        <dsp:cNvPr id="0" name=""/>
        <dsp:cNvSpPr/>
      </dsp:nvSpPr>
      <dsp:spPr>
        <a:xfrm>
          <a:off x="6260075" y="104515"/>
          <a:ext cx="1896268" cy="1137760"/>
        </a:xfrm>
        <a:prstGeom prst="rect">
          <a:avLst/>
        </a:prstGeom>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Renseignements génétiques</a:t>
          </a:r>
          <a:endParaRPr lang="en-US" kern="1200"/>
        </a:p>
      </dsp:txBody>
      <dsp:txXfrm>
        <a:off x="6260075" y="104515"/>
        <a:ext cx="1896268" cy="1137760"/>
      </dsp:txXfrm>
    </dsp:sp>
    <dsp:sp modelId="{B97059E4-569B-439D-ACCE-C703E8EBB9E0}">
      <dsp:nvSpPr>
        <dsp:cNvPr id="0" name=""/>
        <dsp:cNvSpPr/>
      </dsp:nvSpPr>
      <dsp:spPr>
        <a:xfrm>
          <a:off x="2390" y="1431903"/>
          <a:ext cx="1896268" cy="1137760"/>
        </a:xfrm>
        <a:prstGeom prst="rect">
          <a:avLst/>
        </a:prstGeom>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Langue</a:t>
          </a:r>
          <a:endParaRPr lang="en-US" kern="1200"/>
        </a:p>
      </dsp:txBody>
      <dsp:txXfrm>
        <a:off x="2390" y="1431903"/>
        <a:ext cx="1896268" cy="1137760"/>
      </dsp:txXfrm>
    </dsp:sp>
    <dsp:sp modelId="{1C95E413-6173-413A-912F-7DA1BB34D98F}">
      <dsp:nvSpPr>
        <dsp:cNvPr id="0" name=""/>
        <dsp:cNvSpPr/>
      </dsp:nvSpPr>
      <dsp:spPr>
        <a:xfrm>
          <a:off x="2088285" y="1431903"/>
          <a:ext cx="1896268" cy="1137760"/>
        </a:xfrm>
        <a:prstGeom prst="rect">
          <a:avLst/>
        </a:prstGeom>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Religion ou croyance</a:t>
          </a:r>
          <a:endParaRPr lang="en-US" kern="1200"/>
        </a:p>
      </dsp:txBody>
      <dsp:txXfrm>
        <a:off x="2088285" y="1431903"/>
        <a:ext cx="1896268" cy="1137760"/>
      </dsp:txXfrm>
    </dsp:sp>
    <dsp:sp modelId="{A26D54B5-B4E7-40E8-9B74-824A0E4BCFBB}">
      <dsp:nvSpPr>
        <dsp:cNvPr id="0" name=""/>
        <dsp:cNvSpPr/>
      </dsp:nvSpPr>
      <dsp:spPr>
        <a:xfrm>
          <a:off x="4174180" y="1431903"/>
          <a:ext cx="1896268" cy="1137760"/>
        </a:xfrm>
        <a:prstGeom prst="rect">
          <a:avLst/>
        </a:prstGeom>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Idées politiques ou syndicales</a:t>
          </a:r>
          <a:endParaRPr lang="en-US" kern="1200"/>
        </a:p>
      </dsp:txBody>
      <dsp:txXfrm>
        <a:off x="4174180" y="1431903"/>
        <a:ext cx="1896268" cy="1137760"/>
      </dsp:txXfrm>
    </dsp:sp>
    <dsp:sp modelId="{00672C99-BC32-447E-BE26-36407AA2BDB2}">
      <dsp:nvSpPr>
        <dsp:cNvPr id="0" name=""/>
        <dsp:cNvSpPr/>
      </dsp:nvSpPr>
      <dsp:spPr>
        <a:xfrm>
          <a:off x="6260075" y="1431903"/>
          <a:ext cx="1896268" cy="1137760"/>
        </a:xfrm>
        <a:prstGeom prst="rect">
          <a:avLst/>
        </a:prstGeom>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Statut d’ancien combattant</a:t>
          </a:r>
          <a:endParaRPr lang="en-US" kern="1200"/>
        </a:p>
      </dsp:txBody>
      <dsp:txXfrm>
        <a:off x="6260075" y="1431903"/>
        <a:ext cx="1896268" cy="1137760"/>
      </dsp:txXfrm>
    </dsp:sp>
    <dsp:sp modelId="{4CCD97D0-30AC-4C6D-BD06-F8D29050925E}">
      <dsp:nvSpPr>
        <dsp:cNvPr id="0" name=""/>
        <dsp:cNvSpPr/>
      </dsp:nvSpPr>
      <dsp:spPr>
        <a:xfrm>
          <a:off x="2390" y="2759291"/>
          <a:ext cx="1896268" cy="1137760"/>
        </a:xfrm>
        <a:prstGeom prst="rect">
          <a:avLst/>
        </a:prstGeom>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dirty="0">
              <a:solidFill>
                <a:srgbClr val="FFFFFF"/>
              </a:solidFill>
              <a:effectLst/>
              <a:latin typeface="Calibri"/>
              <a:ea typeface="Calibri"/>
              <a:cs typeface="Calibri"/>
            </a:rPr>
            <a:t>Sexe (comprend la grossesse/ l’accouchement)</a:t>
          </a:r>
        </a:p>
      </dsp:txBody>
      <dsp:txXfrm>
        <a:off x="2390" y="2759291"/>
        <a:ext cx="1896268" cy="1137760"/>
      </dsp:txXfrm>
    </dsp:sp>
    <dsp:sp modelId="{483AB9CE-7E99-4641-8A28-E74959ABA064}">
      <dsp:nvSpPr>
        <dsp:cNvPr id="0" name=""/>
        <dsp:cNvSpPr/>
      </dsp:nvSpPr>
      <dsp:spPr>
        <a:xfrm>
          <a:off x="2088285" y="2759291"/>
          <a:ext cx="1896268" cy="1137760"/>
        </a:xfrm>
        <a:prstGeom prst="rect">
          <a:avLst/>
        </a:prstGeom>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Identité de genre</a:t>
          </a:r>
          <a:endParaRPr lang="en-US" kern="1200"/>
        </a:p>
      </dsp:txBody>
      <dsp:txXfrm>
        <a:off x="2088285" y="2759291"/>
        <a:ext cx="1896268" cy="1137760"/>
      </dsp:txXfrm>
    </dsp:sp>
    <dsp:sp modelId="{EAD55615-8E89-44DC-83A8-7C3F87D1D88C}">
      <dsp:nvSpPr>
        <dsp:cNvPr id="0" name=""/>
        <dsp:cNvSpPr/>
      </dsp:nvSpPr>
      <dsp:spPr>
        <a:xfrm>
          <a:off x="4174180" y="2759291"/>
          <a:ext cx="1896268" cy="1137760"/>
        </a:xfrm>
        <a:prstGeom prst="rect">
          <a:avLst/>
        </a:prstGeom>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Incapacité physique ou mentale </a:t>
          </a:r>
          <a:endParaRPr lang="en-US" kern="1200"/>
        </a:p>
      </dsp:txBody>
      <dsp:txXfrm>
        <a:off x="4174180" y="2759291"/>
        <a:ext cx="1896268" cy="1137760"/>
      </dsp:txXfrm>
    </dsp:sp>
    <dsp:sp modelId="{498343EC-04AC-4CAD-8B5E-ABC16ACC2F20}">
      <dsp:nvSpPr>
        <dsp:cNvPr id="0" name=""/>
        <dsp:cNvSpPr/>
      </dsp:nvSpPr>
      <dsp:spPr>
        <a:xfrm>
          <a:off x="6260075" y="2759291"/>
          <a:ext cx="1896268" cy="1137760"/>
        </a:xfrm>
        <a:prstGeom prst="rect">
          <a:avLst/>
        </a:prstGeom>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fr-CA" sz="1500" b="0" i="0" strike="noStrike" kern="1200" cap="none" spc="0" baseline="0">
              <a:solidFill>
                <a:srgbClr val="FFFFFF"/>
              </a:solidFill>
              <a:effectLst/>
              <a:latin typeface="Calibri"/>
              <a:ea typeface="Calibri"/>
              <a:cs typeface="Calibri"/>
            </a:rPr>
            <a:t>Orientation sexuelle</a:t>
          </a:r>
          <a:endParaRPr lang="en-US" kern="1200"/>
        </a:p>
      </dsp:txBody>
      <dsp:txXfrm>
        <a:off x="6260075" y="2759291"/>
        <a:ext cx="1896268" cy="1137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82F32-5C4B-42CE-AEF9-AB56A3FF7419}">
      <dsp:nvSpPr>
        <dsp:cNvPr id="0" name=""/>
        <dsp:cNvSpPr/>
      </dsp:nvSpPr>
      <dsp:spPr>
        <a:xfrm>
          <a:off x="2980" y="788"/>
          <a:ext cx="8068874"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fr-CA" sz="2800" b="1" i="0" u="sng" strike="noStrike" kern="1200" cap="none" spc="0" baseline="0">
              <a:solidFill>
                <a:srgbClr val="FFFFFF"/>
              </a:solidFill>
              <a:effectLst/>
              <a:uFill>
                <a:solidFill>
                  <a:srgbClr val="FFFFFF"/>
                </a:solidFill>
              </a:uFill>
              <a:latin typeface="Calibri"/>
              <a:ea typeface="Calibri"/>
              <a:cs typeface="Calibri"/>
            </a:rPr>
            <a:t>Le harcèlement sexuel </a:t>
          </a:r>
          <a:r>
            <a:rPr lang="fr-CA" sz="2800" b="0" i="0" strike="noStrike" kern="1200" cap="none" spc="0" baseline="0">
              <a:solidFill>
                <a:srgbClr val="FFFFFF"/>
              </a:solidFill>
              <a:effectLst/>
              <a:latin typeface="Calibri"/>
              <a:ea typeface="Calibri"/>
              <a:cs typeface="Calibri"/>
            </a:rPr>
            <a:t>est une conduite verbale, non verbale ou physique non désirée de nature sexuelle qui viole la dignité d’une personne.</a:t>
          </a:r>
        </a:p>
        <a:p>
          <a:pPr marL="0" lvl="0" indent="0" algn="ctr" defTabSz="1244600">
            <a:lnSpc>
              <a:spcPct val="90000"/>
            </a:lnSpc>
            <a:spcBef>
              <a:spcPct val="0"/>
            </a:spcBef>
            <a:spcAft>
              <a:spcPct val="35000"/>
            </a:spcAft>
            <a:buNone/>
          </a:pPr>
          <a:r>
            <a:rPr lang="fr-CA" sz="2800" b="0" i="0" strike="noStrike" kern="1200" cap="none" spc="0" baseline="0">
              <a:solidFill>
                <a:srgbClr val="FFFFFF"/>
              </a:solidFill>
              <a:effectLst/>
              <a:latin typeface="Calibri"/>
              <a:ea typeface="Calibri"/>
              <a:cs typeface="Calibri"/>
            </a:rPr>
            <a:t> Il existe deux types différents de harcèlement sexuel :</a:t>
          </a:r>
          <a:endParaRPr lang="en-US" kern="1200"/>
        </a:p>
      </dsp:txBody>
      <dsp:txXfrm>
        <a:off x="70704" y="68512"/>
        <a:ext cx="7933426" cy="2176831"/>
      </dsp:txXfrm>
    </dsp:sp>
    <dsp:sp modelId="{2BBD0B2E-4BE4-48AC-A125-1761F93E54D0}">
      <dsp:nvSpPr>
        <dsp:cNvPr id="0" name=""/>
        <dsp:cNvSpPr/>
      </dsp:nvSpPr>
      <dsp:spPr>
        <a:xfrm>
          <a:off x="2980"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A" sz="1400" b="1" i="0" u="sng" strike="noStrike" kern="1200" cap="none" spc="0" baseline="0">
              <a:solidFill>
                <a:srgbClr val="FFFFFF"/>
              </a:solidFill>
              <a:effectLst/>
              <a:uFill>
                <a:solidFill>
                  <a:srgbClr val="FFFFFF"/>
                </a:solidFill>
              </a:uFill>
              <a:latin typeface="Calibri"/>
              <a:ea typeface="Calibri"/>
              <a:cs typeface="Calibri"/>
            </a:rPr>
            <a:t>Quid Pro Quo</a:t>
          </a:r>
          <a:endParaRPr lang="en-GB" kern="1200">
            <a:solidFill>
              <a:srgbClr val="FF0000"/>
            </a:solidFill>
          </a:endParaRP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Quid Pro Quo est latin et signifie « cela pour cela » et signifie fonder les décisions de travail sur le fait que quelqu’un accepte ou rejette une conduite sexuelle importune.</a:t>
          </a: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 Il peut s’agir d’une conduite sexuelle, intime ou romantique.</a:t>
          </a: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 Elle implique toujours des gestionnaires ou d’autres personnes occupant des postes d’autorité. </a:t>
          </a:r>
          <a:endParaRPr lang="en-US" kern="1200"/>
        </a:p>
      </dsp:txBody>
      <dsp:txXfrm>
        <a:off x="70704" y="2596730"/>
        <a:ext cx="3736372" cy="2176831"/>
      </dsp:txXfrm>
    </dsp:sp>
    <dsp:sp modelId="{88F1ABA4-3573-4291-80C5-CCCD060891F4}">
      <dsp:nvSpPr>
        <dsp:cNvPr id="0" name=""/>
        <dsp:cNvSpPr/>
      </dsp:nvSpPr>
      <dsp:spPr>
        <a:xfrm>
          <a:off x="4200034"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CA" sz="1400" b="1" i="0" u="sng" strike="noStrike" kern="1200" cap="none" spc="0" baseline="0">
              <a:solidFill>
                <a:srgbClr val="FFFFFF"/>
              </a:solidFill>
              <a:effectLst/>
              <a:uFill>
                <a:solidFill>
                  <a:srgbClr val="FFFFFF"/>
                </a:solidFill>
              </a:uFill>
              <a:latin typeface="Calibri"/>
              <a:ea typeface="Calibri"/>
              <a:cs typeface="Calibri"/>
            </a:rPr>
            <a:t>Environnement de travail hostile</a:t>
          </a:r>
          <a:r>
            <a:rPr lang="fr-CA" sz="1400" b="0" i="0" strike="noStrike" kern="1200" cap="none" spc="0" baseline="0">
              <a:solidFill>
                <a:srgbClr val="FF0000"/>
              </a:solidFill>
              <a:effectLst/>
              <a:latin typeface="Calibri"/>
              <a:ea typeface="Calibri"/>
              <a:cs typeface="Calibri"/>
            </a:rPr>
            <a:t> </a:t>
          </a: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Comportement importun qui crée un environnement de travail intimidant, hostile, dégradant, humiliant ou offensant. </a:t>
          </a: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Peut être un comportement verbal, visuel, physique, numérique ou écrit. </a:t>
          </a:r>
        </a:p>
        <a:p>
          <a:pPr marL="0" lvl="0" indent="0" algn="ctr" defTabSz="622300">
            <a:lnSpc>
              <a:spcPct val="90000"/>
            </a:lnSpc>
            <a:spcBef>
              <a:spcPct val="0"/>
            </a:spcBef>
            <a:spcAft>
              <a:spcPct val="35000"/>
            </a:spcAft>
            <a:buNone/>
          </a:pPr>
          <a:r>
            <a:rPr lang="fr-CA" sz="1400" b="0" i="0" strike="noStrike" kern="1200" cap="none" spc="0" baseline="0">
              <a:solidFill>
                <a:srgbClr val="FFFFFF"/>
              </a:solidFill>
              <a:effectLst/>
              <a:latin typeface="Calibri"/>
              <a:ea typeface="Calibri"/>
              <a:cs typeface="Calibri"/>
            </a:rPr>
            <a:t>N’importe qui, pas seulement quelqu’un en position d’autorité, peut se livrer à ce type de conduite illégale. </a:t>
          </a:r>
          <a:endParaRPr lang="en-US" kern="1200"/>
        </a:p>
      </dsp:txBody>
      <dsp:txXfrm>
        <a:off x="4267758" y="2596730"/>
        <a:ext cx="3736372" cy="2176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8B920-B1E0-4886-9BA5-B1554C666682}">
      <dsp:nvSpPr>
        <dsp:cNvPr id="0" name=""/>
        <dsp:cNvSpPr/>
      </dsp:nvSpPr>
      <dsp:spPr>
        <a:xfrm>
          <a:off x="0" y="100474"/>
          <a:ext cx="3886200" cy="15590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fr-CA" sz="2800" b="0" i="0" strike="noStrike" kern="1200" cap="none" spc="0" baseline="0" dirty="0">
              <a:solidFill>
                <a:srgbClr val="FFFFFF"/>
              </a:solidFill>
              <a:effectLst/>
              <a:latin typeface="Calibri"/>
              <a:ea typeface="Calibri"/>
              <a:cs typeface="Calibri"/>
            </a:rPr>
            <a:t>Un environnement de travail hostile peut comprendre :</a:t>
          </a:r>
          <a:endParaRPr lang="en-US" sz="2800" kern="1200" dirty="0"/>
        </a:p>
      </dsp:txBody>
      <dsp:txXfrm>
        <a:off x="76105" y="176579"/>
        <a:ext cx="3733990" cy="1406815"/>
      </dsp:txXfrm>
    </dsp:sp>
    <dsp:sp modelId="{7652FA92-FF02-4F9E-A627-EE14DD86AB00}">
      <dsp:nvSpPr>
        <dsp:cNvPr id="0" name=""/>
        <dsp:cNvSpPr/>
      </dsp:nvSpPr>
      <dsp:spPr>
        <a:xfrm>
          <a:off x="0" y="1659499"/>
          <a:ext cx="3886200" cy="18164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387"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fr-CA" sz="2400" b="0" i="0" strike="noStrike" kern="1200" cap="none" spc="0" baseline="0" dirty="0">
              <a:solidFill>
                <a:srgbClr val="000000"/>
              </a:solidFill>
              <a:effectLst/>
              <a:latin typeface="Calibri"/>
              <a:ea typeface="Calibri"/>
              <a:cs typeface="Calibri"/>
            </a:rPr>
            <a:t>Un seul incident grave</a:t>
          </a:r>
          <a:endParaRPr lang="en-US" sz="2400" kern="1200" dirty="0"/>
        </a:p>
        <a:p>
          <a:pPr marL="228600" lvl="1" indent="-228600" algn="l" defTabSz="1066800">
            <a:lnSpc>
              <a:spcPct val="90000"/>
            </a:lnSpc>
            <a:spcBef>
              <a:spcPct val="0"/>
            </a:spcBef>
            <a:spcAft>
              <a:spcPct val="20000"/>
            </a:spcAft>
            <a:buChar char="•"/>
          </a:pPr>
          <a:r>
            <a:rPr lang="fr-CA" sz="2400" b="0" i="0" strike="noStrike" kern="1200" cap="none" spc="0" baseline="0" dirty="0">
              <a:solidFill>
                <a:srgbClr val="000000"/>
              </a:solidFill>
              <a:effectLst/>
              <a:latin typeface="Calibri"/>
              <a:ea typeface="Calibri"/>
              <a:cs typeface="Calibri"/>
            </a:rPr>
            <a:t>Un modèle d’incidents plus petits qui s’accumulent au fil du temps</a:t>
          </a:r>
          <a:endParaRPr lang="en-US" sz="2400" kern="1200" dirty="0"/>
        </a:p>
      </dsp:txBody>
      <dsp:txXfrm>
        <a:off x="0" y="1659499"/>
        <a:ext cx="3886200" cy="1816425"/>
      </dsp:txXfrm>
    </dsp:sp>
    <dsp:sp modelId="{33BCEC26-C14D-4C1B-A0A8-57892C4646B9}">
      <dsp:nvSpPr>
        <dsp:cNvPr id="0" name=""/>
        <dsp:cNvSpPr/>
      </dsp:nvSpPr>
      <dsp:spPr>
        <a:xfrm>
          <a:off x="0" y="3475924"/>
          <a:ext cx="3886200" cy="155902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fr-CA" sz="2800" b="0" i="0" strike="noStrike" kern="1200" cap="none" spc="0" baseline="0" dirty="0">
              <a:solidFill>
                <a:srgbClr val="FFFFFF"/>
              </a:solidFill>
              <a:effectLst/>
              <a:latin typeface="Calibri"/>
              <a:ea typeface="Calibri"/>
              <a:cs typeface="Calibri"/>
            </a:rPr>
            <a:t>Un modèle de conduite peut être invisible pour les autres </a:t>
          </a:r>
          <a:endParaRPr lang="en-US" sz="2800" kern="1200" dirty="0"/>
        </a:p>
      </dsp:txBody>
      <dsp:txXfrm>
        <a:off x="76105" y="3552029"/>
        <a:ext cx="3733990" cy="14068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E4789-F2C4-48F7-AD1A-1BC4182425B9}">
      <dsp:nvSpPr>
        <dsp:cNvPr id="0" name=""/>
        <dsp:cNvSpPr/>
      </dsp:nvSpPr>
      <dsp:spPr>
        <a:xfrm>
          <a:off x="745187" y="1247"/>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fr-CA" sz="2800" b="0" i="0" strike="noStrike" kern="1200" cap="none" spc="0" baseline="0" dirty="0">
              <a:solidFill>
                <a:srgbClr val="FFFFFF"/>
              </a:solidFill>
              <a:effectLst/>
              <a:latin typeface="Calibri"/>
              <a:ea typeface="Calibri"/>
              <a:cs typeface="Calibri"/>
            </a:rPr>
            <a:t>Les stéréotypes de genre sont des idées préconçues sur la façon dont une personne devrait être, agir ou se comporter en fonction de son sexe. </a:t>
          </a:r>
          <a:endParaRPr lang="en-US" sz="2800" kern="1200" dirty="0"/>
        </a:p>
      </dsp:txBody>
      <dsp:txXfrm>
        <a:off x="745187" y="1247"/>
        <a:ext cx="6584460" cy="2008260"/>
      </dsp:txXfrm>
    </dsp:sp>
    <dsp:sp modelId="{C106FE37-78FC-4B91-AB63-2959EC40C132}">
      <dsp:nvSpPr>
        <dsp:cNvPr id="0" name=""/>
        <dsp:cNvSpPr/>
      </dsp:nvSpPr>
      <dsp:spPr>
        <a:xfrm>
          <a:off x="745187" y="2832565"/>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fr-CA" sz="2800" b="0" i="0" strike="noStrike" kern="1200" cap="none" spc="0" baseline="0">
              <a:solidFill>
                <a:srgbClr val="FFFFFF"/>
              </a:solidFill>
              <a:effectLst/>
              <a:latin typeface="Calibri"/>
              <a:ea typeface="Calibri"/>
              <a:cs typeface="Calibri"/>
            </a:rPr>
            <a:t>Par exemple : Vous demandez </a:t>
          </a:r>
          <a:r>
            <a:rPr lang="fr-CA" sz="2800" b="0" i="0" u="sng" strike="noStrike" kern="1200" cap="none" spc="0" baseline="0">
              <a:solidFill>
                <a:srgbClr val="FFFFFF"/>
              </a:solidFill>
              <a:effectLst/>
              <a:uFill>
                <a:solidFill>
                  <a:srgbClr val="FFFFFF"/>
                </a:solidFill>
              </a:uFill>
              <a:latin typeface="Calibri"/>
              <a:ea typeface="Calibri"/>
              <a:cs typeface="Calibri"/>
            </a:rPr>
            <a:t>uniquement</a:t>
          </a:r>
          <a:r>
            <a:rPr lang="fr-CA" sz="2800" b="0" i="0" strike="noStrike" kern="1200" cap="none" spc="0" baseline="0">
              <a:solidFill>
                <a:srgbClr val="FFFFFF"/>
              </a:solidFill>
              <a:effectLst/>
              <a:latin typeface="Calibri"/>
              <a:ea typeface="Calibri"/>
              <a:cs typeface="Calibri"/>
            </a:rPr>
            <a:t> aux employées de prendre du café et des collations pour la salle de conférence pour la réunion à venir.</a:t>
          </a:r>
          <a:endParaRPr lang="en-US" sz="2800" kern="1200"/>
        </a:p>
      </dsp:txBody>
      <dsp:txXfrm>
        <a:off x="745187" y="2832565"/>
        <a:ext cx="6584460" cy="20082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1FA31-D264-43EA-875B-A2B7B8E7012B}">
      <dsp:nvSpPr>
        <dsp:cNvPr id="0" name=""/>
        <dsp:cNvSpPr/>
      </dsp:nvSpPr>
      <dsp:spPr>
        <a:xfrm>
          <a:off x="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CA" sz="3000" b="0" i="0" strike="noStrike" kern="1200" cap="none" spc="0" baseline="0" dirty="0">
              <a:solidFill>
                <a:srgbClr val="FFFFFF"/>
              </a:solidFill>
              <a:effectLst/>
              <a:latin typeface="Calibri"/>
              <a:ea typeface="Calibri"/>
              <a:cs typeface="Calibri"/>
            </a:rPr>
            <a:t>Superviseurs</a:t>
          </a:r>
          <a:endParaRPr lang="en-US" sz="3000" kern="1200" dirty="0"/>
        </a:p>
      </dsp:txBody>
      <dsp:txXfrm>
        <a:off x="0" y="622433"/>
        <a:ext cx="2458164" cy="1474898"/>
      </dsp:txXfrm>
    </dsp:sp>
    <dsp:sp modelId="{4573CE03-A660-44F7-B0C8-0BF6532B8A05}">
      <dsp:nvSpPr>
        <dsp:cNvPr id="0" name=""/>
        <dsp:cNvSpPr/>
      </dsp:nvSpPr>
      <dsp:spPr>
        <a:xfrm>
          <a:off x="270398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CA" sz="3000" b="0" i="0" strike="noStrike" kern="1200" cap="none" spc="0" baseline="0">
              <a:solidFill>
                <a:srgbClr val="FFFFFF"/>
              </a:solidFill>
              <a:effectLst/>
              <a:latin typeface="Calibri"/>
              <a:ea typeface="Calibri"/>
              <a:cs typeface="Calibri"/>
            </a:rPr>
            <a:t>Gestionnaires</a:t>
          </a:r>
          <a:endParaRPr lang="en-US" sz="3000" kern="1200"/>
        </a:p>
      </dsp:txBody>
      <dsp:txXfrm>
        <a:off x="2703980" y="622433"/>
        <a:ext cx="2458164" cy="1474898"/>
      </dsp:txXfrm>
    </dsp:sp>
    <dsp:sp modelId="{7D292785-63DD-40E5-BF38-3BDE0B2D1FB7}">
      <dsp:nvSpPr>
        <dsp:cNvPr id="0" name=""/>
        <dsp:cNvSpPr/>
      </dsp:nvSpPr>
      <dsp:spPr>
        <a:xfrm>
          <a:off x="5407961"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CA" sz="3600" b="0" i="0" strike="noStrike" kern="1200" cap="none" spc="0" baseline="0" dirty="0">
              <a:solidFill>
                <a:srgbClr val="FFFFFF"/>
              </a:solidFill>
              <a:effectLst/>
              <a:latin typeface="Calibri"/>
              <a:ea typeface="Calibri"/>
              <a:cs typeface="Calibri"/>
            </a:rPr>
            <a:t>Collègues</a:t>
          </a:r>
          <a:endParaRPr lang="en-US" kern="1200" dirty="0"/>
        </a:p>
      </dsp:txBody>
      <dsp:txXfrm>
        <a:off x="5407961" y="622433"/>
        <a:ext cx="2458164" cy="1474898"/>
      </dsp:txXfrm>
    </dsp:sp>
    <dsp:sp modelId="{8E5F5894-71D7-4AD0-AB3F-825397E67428}">
      <dsp:nvSpPr>
        <dsp:cNvPr id="0" name=""/>
        <dsp:cNvSpPr/>
      </dsp:nvSpPr>
      <dsp:spPr>
        <a:xfrm>
          <a:off x="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CA" sz="3000" b="0" i="0" strike="noStrike" kern="1200" cap="none" spc="0" baseline="0">
              <a:solidFill>
                <a:srgbClr val="FFFFFF"/>
              </a:solidFill>
              <a:effectLst/>
              <a:latin typeface="Calibri"/>
              <a:ea typeface="Calibri"/>
              <a:cs typeface="Calibri"/>
            </a:rPr>
            <a:t>Fournisseurs</a:t>
          </a:r>
          <a:endParaRPr lang="en-US" sz="3000" kern="1200"/>
        </a:p>
      </dsp:txBody>
      <dsp:txXfrm>
        <a:off x="0" y="2343148"/>
        <a:ext cx="2458164" cy="1474898"/>
      </dsp:txXfrm>
    </dsp:sp>
    <dsp:sp modelId="{41438514-9CE3-4267-8433-2A509C733917}">
      <dsp:nvSpPr>
        <dsp:cNvPr id="0" name=""/>
        <dsp:cNvSpPr/>
      </dsp:nvSpPr>
      <dsp:spPr>
        <a:xfrm>
          <a:off x="270398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fr-CA" sz="3600" b="0" i="0" strike="noStrike" kern="1200" cap="none" spc="0" baseline="0">
              <a:solidFill>
                <a:srgbClr val="FFFFFF"/>
              </a:solidFill>
              <a:effectLst/>
              <a:latin typeface="Calibri"/>
              <a:ea typeface="Calibri"/>
              <a:cs typeface="Calibri"/>
            </a:rPr>
            <a:t>Clients</a:t>
          </a:r>
          <a:endParaRPr lang="en-US" kern="1200"/>
        </a:p>
      </dsp:txBody>
      <dsp:txXfrm>
        <a:off x="2703980" y="2343148"/>
        <a:ext cx="2458164" cy="1474898"/>
      </dsp:txXfrm>
    </dsp:sp>
    <dsp:sp modelId="{CD7FF0B3-454C-4F5A-9542-9E88E96578B7}">
      <dsp:nvSpPr>
        <dsp:cNvPr id="0" name=""/>
        <dsp:cNvSpPr/>
      </dsp:nvSpPr>
      <dsp:spPr>
        <a:xfrm>
          <a:off x="5407961"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fr-CA" sz="3000" b="0" i="0" strike="noStrike" kern="1200" cap="none" spc="0" baseline="0">
              <a:solidFill>
                <a:srgbClr val="FFFFFF"/>
              </a:solidFill>
              <a:effectLst/>
              <a:latin typeface="Calibri"/>
              <a:ea typeface="Calibri"/>
              <a:cs typeface="Calibri"/>
            </a:rPr>
            <a:t>Entrepreneurs</a:t>
          </a:r>
          <a:endParaRPr lang="en-US" sz="3000" kern="1200"/>
        </a:p>
      </dsp:txBody>
      <dsp:txXfrm>
        <a:off x="5407961" y="2343148"/>
        <a:ext cx="2458164" cy="14748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86E4F-7206-4C05-AD55-DC212A1A5DC4}">
      <dsp:nvSpPr>
        <dsp:cNvPr id="0" name=""/>
        <dsp:cNvSpPr/>
      </dsp:nvSpPr>
      <dsp:spPr>
        <a:xfrm>
          <a:off x="864" y="291120"/>
          <a:ext cx="3372691" cy="155745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CA" sz="1600" b="0" i="0" strike="noStrike" kern="1200" cap="none" spc="0" baseline="0">
              <a:solidFill>
                <a:srgbClr val="FFFFFF"/>
              </a:solidFill>
              <a:effectLst/>
              <a:latin typeface="Calibri"/>
              <a:ea typeface="Calibri"/>
              <a:cs typeface="Calibri"/>
            </a:rPr>
            <a:t>Conduite visuelle </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Encourager, faire des gestes sexuels</a:t>
          </a:r>
        </a:p>
        <a:p>
          <a:pPr marL="171450" lvl="1" indent="-171450" algn="l" defTabSz="711200">
            <a:lnSpc>
              <a:spcPct val="90000"/>
            </a:lnSpc>
            <a:spcBef>
              <a:spcPct val="0"/>
            </a:spcBef>
            <a:spcAft>
              <a:spcPct val="15000"/>
            </a:spcAft>
            <a:buChar char="•"/>
          </a:pPr>
          <a:r>
            <a:rPr lang="fr-CA" sz="1600" b="0" i="0" strike="noStrike" kern="1200" cap="none" spc="0" baseline="0" dirty="0">
              <a:solidFill>
                <a:srgbClr val="FFFFFF"/>
              </a:solidFill>
              <a:effectLst/>
              <a:latin typeface="Calibri"/>
              <a:ea typeface="Calibri"/>
              <a:cs typeface="Calibri"/>
            </a:rPr>
            <a:t>Affichage d’objets, d’images, de dessins animés ou d’affiches suggestifs sous forme imprimée ou numérique</a:t>
          </a:r>
        </a:p>
      </dsp:txBody>
      <dsp:txXfrm>
        <a:off x="864" y="291120"/>
        <a:ext cx="3372691" cy="1557454"/>
      </dsp:txXfrm>
    </dsp:sp>
    <dsp:sp modelId="{988B99C9-8C3B-43DD-B195-DE7699CD3887}">
      <dsp:nvSpPr>
        <dsp:cNvPr id="0" name=""/>
        <dsp:cNvSpPr/>
      </dsp:nvSpPr>
      <dsp:spPr>
        <a:xfrm>
          <a:off x="3710825"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CA" sz="1600" b="0" i="0" strike="noStrike" kern="1200" cap="none" spc="0" baseline="0">
              <a:solidFill>
                <a:srgbClr val="FFFFFF"/>
              </a:solidFill>
              <a:effectLst/>
              <a:latin typeface="Calibri"/>
              <a:ea typeface="Calibri"/>
              <a:cs typeface="Calibri"/>
            </a:rPr>
            <a:t>Conduite physique</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Toucher, étreindre ou masser</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Agression</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Empêcher ou bloquer les mouvements </a:t>
          </a:r>
        </a:p>
      </dsp:txBody>
      <dsp:txXfrm>
        <a:off x="3710825" y="338878"/>
        <a:ext cx="3372691" cy="1461940"/>
      </dsp:txXfrm>
    </dsp:sp>
    <dsp:sp modelId="{66092D74-200C-439C-BC45-FB0319721481}">
      <dsp:nvSpPr>
        <dsp:cNvPr id="0" name=""/>
        <dsp:cNvSpPr/>
      </dsp:nvSpPr>
      <dsp:spPr>
        <a:xfrm>
          <a:off x="488269" y="2185844"/>
          <a:ext cx="6107842" cy="21518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fr-CA" sz="1600" b="0" i="0" strike="noStrike" kern="1200" cap="none" spc="0" baseline="0">
              <a:solidFill>
                <a:srgbClr val="FFFFFF"/>
              </a:solidFill>
              <a:effectLst/>
              <a:latin typeface="Calibri"/>
              <a:ea typeface="Calibri"/>
              <a:cs typeface="Calibri"/>
            </a:rPr>
            <a:t>Conduite verbale </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Faire ou utiliser des commentaires, insultes ou blagues désobligeants en personne ou par message texte, courriel ou message</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Avances ou propositions sexuelles verbales</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Abus verbal de nature sexuelle</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Commentaires verbaux graphiques sur le corps d’une personne</a:t>
          </a:r>
        </a:p>
        <a:p>
          <a:pPr marL="171450" lvl="1" indent="-171450" algn="l" defTabSz="711200">
            <a:lnSpc>
              <a:spcPct val="90000"/>
            </a:lnSpc>
            <a:spcBef>
              <a:spcPct val="0"/>
            </a:spcBef>
            <a:spcAft>
              <a:spcPct val="15000"/>
            </a:spcAft>
            <a:buChar char="•"/>
          </a:pPr>
          <a:r>
            <a:rPr lang="fr-CA" sz="1600" b="0" i="0" strike="noStrike" kern="1200" cap="none" spc="0" baseline="0">
              <a:solidFill>
                <a:srgbClr val="FFFFFF"/>
              </a:solidFill>
              <a:effectLst/>
              <a:latin typeface="Calibri"/>
              <a:ea typeface="Calibri"/>
              <a:cs typeface="Calibri"/>
            </a:rPr>
            <a:t>Des mots sexuellement dégradants utilisés pour décrire une personne, des lettres, des notes ou des invitations suggestives ou obscènes</a:t>
          </a:r>
        </a:p>
      </dsp:txBody>
      <dsp:txXfrm>
        <a:off x="488269" y="2185844"/>
        <a:ext cx="6107842" cy="215185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A27DE-1A9D-4CFC-BE2E-D6325D4C73B2}">
      <dsp:nvSpPr>
        <dsp:cNvPr id="0" name=""/>
        <dsp:cNvSpPr/>
      </dsp:nvSpPr>
      <dsp:spPr>
        <a:xfrm>
          <a:off x="902116" y="230863"/>
          <a:ext cx="634394" cy="63439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FCE879-EDA8-4A56-B9E8-3934B4682EB9}">
      <dsp:nvSpPr>
        <dsp:cNvPr id="0" name=""/>
        <dsp:cNvSpPr/>
      </dsp:nvSpPr>
      <dsp:spPr>
        <a:xfrm>
          <a:off x="514430" y="1093785"/>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Interactions virtuelles</a:t>
          </a:r>
          <a:endParaRPr lang="en-US" kern="1200"/>
        </a:p>
      </dsp:txBody>
      <dsp:txXfrm>
        <a:off x="514430" y="1093785"/>
        <a:ext cx="1409765" cy="634394"/>
      </dsp:txXfrm>
    </dsp:sp>
    <dsp:sp modelId="{B02E9D7E-F6E6-43AD-AAC9-B8DAE5007E4C}">
      <dsp:nvSpPr>
        <dsp:cNvPr id="0" name=""/>
        <dsp:cNvSpPr/>
      </dsp:nvSpPr>
      <dsp:spPr>
        <a:xfrm>
          <a:off x="2558590" y="230863"/>
          <a:ext cx="634394" cy="63439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45D0FB-691D-4DD1-A770-EFD951B22D94}">
      <dsp:nvSpPr>
        <dsp:cNvPr id="0" name=""/>
        <dsp:cNvSpPr/>
      </dsp:nvSpPr>
      <dsp:spPr>
        <a:xfrm>
          <a:off x="2170905" y="1093785"/>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Fêtes de fin d’année</a:t>
          </a:r>
          <a:endParaRPr lang="en-US" kern="1200"/>
        </a:p>
      </dsp:txBody>
      <dsp:txXfrm>
        <a:off x="2170905" y="1093785"/>
        <a:ext cx="1409765" cy="634394"/>
      </dsp:txXfrm>
    </dsp:sp>
    <dsp:sp modelId="{4E3EF8FC-D81C-4C6A-806C-EA4743F4BA77}">
      <dsp:nvSpPr>
        <dsp:cNvPr id="0" name=""/>
        <dsp:cNvSpPr/>
      </dsp:nvSpPr>
      <dsp:spPr>
        <a:xfrm>
          <a:off x="4215065" y="230863"/>
          <a:ext cx="634394" cy="63439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5E8662-2533-42D8-B4B8-521917D7DEAC}">
      <dsp:nvSpPr>
        <dsp:cNvPr id="0" name=""/>
        <dsp:cNvSpPr/>
      </dsp:nvSpPr>
      <dsp:spPr>
        <a:xfrm>
          <a:off x="3827379" y="1093785"/>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Repas</a:t>
          </a:r>
          <a:endParaRPr lang="en-US" kern="1200"/>
        </a:p>
      </dsp:txBody>
      <dsp:txXfrm>
        <a:off x="3827379" y="1093785"/>
        <a:ext cx="1409765" cy="634394"/>
      </dsp:txXfrm>
    </dsp:sp>
    <dsp:sp modelId="{57CC4C62-BD4B-45BD-83D8-0A29B71FFADD}">
      <dsp:nvSpPr>
        <dsp:cNvPr id="0" name=""/>
        <dsp:cNvSpPr/>
      </dsp:nvSpPr>
      <dsp:spPr>
        <a:xfrm>
          <a:off x="960981" y="2152733"/>
          <a:ext cx="634394" cy="63439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47C313-91DA-4206-839D-B34E91EFC201}">
      <dsp:nvSpPr>
        <dsp:cNvPr id="0" name=""/>
        <dsp:cNvSpPr/>
      </dsp:nvSpPr>
      <dsp:spPr>
        <a:xfrm>
          <a:off x="564815" y="2905372"/>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Conférences et salons professionnels</a:t>
          </a:r>
          <a:endParaRPr lang="en-US" kern="1200"/>
        </a:p>
      </dsp:txBody>
      <dsp:txXfrm>
        <a:off x="564815" y="2905372"/>
        <a:ext cx="1409765" cy="634394"/>
      </dsp:txXfrm>
    </dsp:sp>
    <dsp:sp modelId="{E86A0C04-E9B4-4015-A6A8-3FB1046B29CE}">
      <dsp:nvSpPr>
        <dsp:cNvPr id="0" name=""/>
        <dsp:cNvSpPr/>
      </dsp:nvSpPr>
      <dsp:spPr>
        <a:xfrm>
          <a:off x="2558590" y="2080621"/>
          <a:ext cx="634394" cy="63439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18699A-9F44-43C4-BACD-AFA07472911A}">
      <dsp:nvSpPr>
        <dsp:cNvPr id="0" name=""/>
        <dsp:cNvSpPr/>
      </dsp:nvSpPr>
      <dsp:spPr>
        <a:xfrm>
          <a:off x="2170905" y="2943544"/>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Voyages d’affaires</a:t>
          </a:r>
          <a:endParaRPr lang="en-US" kern="1200"/>
        </a:p>
      </dsp:txBody>
      <dsp:txXfrm>
        <a:off x="2170905" y="2943544"/>
        <a:ext cx="1409765" cy="634394"/>
      </dsp:txXfrm>
    </dsp:sp>
    <dsp:sp modelId="{5421B5D6-8F0B-4CBE-B7B3-DBCDD202F370}">
      <dsp:nvSpPr>
        <dsp:cNvPr id="0" name=""/>
        <dsp:cNvSpPr/>
      </dsp:nvSpPr>
      <dsp:spPr>
        <a:xfrm>
          <a:off x="4215065" y="2080621"/>
          <a:ext cx="634394" cy="634394"/>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CD23AD-0F84-4328-BCA7-961CDC0F9CC6}">
      <dsp:nvSpPr>
        <dsp:cNvPr id="0" name=""/>
        <dsp:cNvSpPr/>
      </dsp:nvSpPr>
      <dsp:spPr>
        <a:xfrm>
          <a:off x="3827379" y="2943544"/>
          <a:ext cx="1409765" cy="6343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fr-CA" sz="1700" b="0" i="0" strike="noStrike" kern="1200" cap="none" spc="0" baseline="0">
              <a:solidFill>
                <a:srgbClr val="000000"/>
              </a:solidFill>
              <a:effectLst/>
              <a:latin typeface="Calibri"/>
              <a:ea typeface="Calibri"/>
              <a:cs typeface="Calibri"/>
            </a:rPr>
            <a:t>Travailleurs à distance et à domicile</a:t>
          </a:r>
          <a:endParaRPr lang="en-US" kern="1200"/>
        </a:p>
      </dsp:txBody>
      <dsp:txXfrm>
        <a:off x="3827379" y="2943544"/>
        <a:ext cx="1409765" cy="63439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a:t>
            </a:fld>
            <a:endParaRPr lang="en-US"/>
          </a:p>
        </p:txBody>
      </p:sp>
    </p:spTree>
    <p:extLst>
      <p:ext uri="{BB962C8B-B14F-4D97-AF65-F5344CB8AC3E}">
        <p14:creationId xmlns:p14="http://schemas.microsoft.com/office/powerpoint/2010/main" val="2259385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2"/>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fr-CA"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LA VALEUR DE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6593548" cy="1077159"/>
          </a:xfrm>
        </p:spPr>
        <p:txBody>
          <a:bodyPr>
            <a:noAutofit/>
          </a:bodyPr>
          <a:lstStyle/>
          <a:p>
            <a:pPr algn="l">
              <a:lnSpc>
                <a:spcPct val="100000"/>
              </a:lnSpc>
              <a:spcBef>
                <a:spcPct val="0"/>
              </a:spcBef>
            </a:pPr>
            <a:r>
              <a:rPr lang="fr-CA" sz="2200" b="1" i="0" strike="noStrike" cap="none" spc="0" baseline="0">
                <a:solidFill>
                  <a:srgbClr val="FFFFFF"/>
                </a:solidFill>
                <a:effectLst/>
                <a:latin typeface="Calibri"/>
                <a:ea typeface="Calibri"/>
                <a:cs typeface="Calibri"/>
              </a:rPr>
              <a:t>Prévention de la discrimination et du harcèlement - </a:t>
            </a:r>
            <a:endParaRPr lang="en-US" sz="2200" b="1">
              <a:solidFill>
                <a:schemeClr val="bg1"/>
              </a:solidFill>
            </a:endParaRPr>
          </a:p>
          <a:p>
            <a:pPr algn="l">
              <a:lnSpc>
                <a:spcPct val="100000"/>
              </a:lnSpc>
              <a:spcBef>
                <a:spcPct val="0"/>
              </a:spcBef>
            </a:pPr>
            <a:r>
              <a:rPr lang="fr-CA" sz="2200" b="1" i="0" strike="noStrike" cap="none" spc="0" baseline="0">
                <a:solidFill>
                  <a:srgbClr val="FFFFFF"/>
                </a:solidFill>
                <a:effectLst/>
                <a:latin typeface="Calibri"/>
                <a:ea typeface="Calibri"/>
                <a:cs typeface="Calibri"/>
              </a:rPr>
              <a:t>Formation sur la conformité pour l’FY24</a:t>
            </a:r>
            <a:endParaRPr lang="en-US" sz="220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fr-CA"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LA VALEUR DE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FB64-517A-045C-1638-7D89A7730C9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Stéréotypes de genre</a:t>
            </a:r>
          </a:p>
        </p:txBody>
      </p:sp>
      <p:sp>
        <p:nvSpPr>
          <p:cNvPr id="5" name="Slide Number Placeholder 4">
            <a:extLst>
              <a:ext uri="{FF2B5EF4-FFF2-40B4-BE49-F238E27FC236}">
                <a16:creationId xmlns:a16="http://schemas.microsoft.com/office/drawing/2014/main" id="{DDE65E14-FCB1-3B13-D835-D59B6037D225}"/>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0</a:t>
            </a:fld>
            <a:endParaRPr lang="en-US"/>
          </a:p>
        </p:txBody>
      </p:sp>
      <p:graphicFrame>
        <p:nvGraphicFramePr>
          <p:cNvPr id="13" name="TextBox 9">
            <a:extLst>
              <a:ext uri="{FF2B5EF4-FFF2-40B4-BE49-F238E27FC236}">
                <a16:creationId xmlns:a16="http://schemas.microsoft.com/office/drawing/2014/main" id="{A605F809-B93D-1529-EAB4-05210895DD47}"/>
              </a:ext>
            </a:extLst>
          </p:cNvPr>
          <p:cNvGraphicFramePr/>
          <p:nvPr>
            <p:extLst>
              <p:ext uri="{D42A27DB-BD31-4B8C-83A1-F6EECF244321}">
                <p14:modId xmlns:p14="http://schemas.microsoft.com/office/powerpoint/2010/main" val="2509939476"/>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280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F7C06-45B6-945D-F08D-4AAB8492661B}"/>
              </a:ext>
            </a:extLst>
          </p:cNvPr>
          <p:cNvSpPr>
            <a:spLocks noGrp="1"/>
          </p:cNvSpPr>
          <p:nvPr>
            <p:ph type="ctrTitle"/>
          </p:nvPr>
        </p:nvSpPr>
        <p:spPr>
          <a:xfrm>
            <a:off x="1143000" y="1122363"/>
            <a:ext cx="6858000" cy="2387600"/>
          </a:xfrm>
        </p:spPr>
        <p:txBody>
          <a:bodyPr anchor="b">
            <a:normAutofit/>
          </a:bodyPr>
          <a:lstStyle/>
          <a:p>
            <a:r>
              <a:rPr lang="fr-CA" sz="4500" b="0" i="0" strike="noStrike" cap="none" spc="0" baseline="0">
                <a:solidFill>
                  <a:srgbClr val="000000"/>
                </a:solidFill>
                <a:effectLst/>
                <a:latin typeface="Calibri Light"/>
                <a:ea typeface="Calibri Light"/>
                <a:cs typeface="Calibri Light"/>
              </a:rPr>
              <a:t>VRAI OU FAUX?</a:t>
            </a:r>
          </a:p>
        </p:txBody>
      </p:sp>
      <p:sp>
        <p:nvSpPr>
          <p:cNvPr id="3" name="Content Placeholder 2">
            <a:extLst>
              <a:ext uri="{FF2B5EF4-FFF2-40B4-BE49-F238E27FC236}">
                <a16:creationId xmlns:a16="http://schemas.microsoft.com/office/drawing/2014/main" id="{D9823FF2-551E-7D6F-6CCD-EA59870F378E}"/>
              </a:ext>
            </a:extLst>
          </p:cNvPr>
          <p:cNvSpPr>
            <a:spLocks noGrp="1"/>
          </p:cNvSpPr>
          <p:nvPr>
            <p:ph type="subTitle" idx="1"/>
          </p:nvPr>
        </p:nvSpPr>
        <p:spPr>
          <a:xfrm>
            <a:off x="1143000" y="3602038"/>
            <a:ext cx="6858000" cy="1655762"/>
          </a:xfrm>
        </p:spPr>
        <p:txBody>
          <a:bodyPr>
            <a:normAutofit/>
          </a:bodyPr>
          <a:lstStyle/>
          <a:p>
            <a:pPr marL="0" indent="0">
              <a:buNone/>
            </a:pPr>
            <a:r>
              <a:rPr lang="fr-CA" sz="1800" b="0" i="0" strike="noStrike" cap="none" spc="0" baseline="0">
                <a:solidFill>
                  <a:srgbClr val="000000"/>
                </a:solidFill>
                <a:effectLst/>
                <a:latin typeface="Calibri"/>
                <a:ea typeface="Calibri"/>
                <a:cs typeface="Calibri"/>
              </a:rPr>
              <a:t>Le harcèlement, y compris le harcèlement sexuel, n’est généralement qu’un problème pour la personne ciblée par la conduite inappropriée.</a:t>
            </a:r>
          </a:p>
        </p:txBody>
      </p:sp>
      <p:sp>
        <p:nvSpPr>
          <p:cNvPr id="5" name="Slide Number Placeholder 4" hidden="1">
            <a:extLst>
              <a:ext uri="{FF2B5EF4-FFF2-40B4-BE49-F238E27FC236}">
                <a16:creationId xmlns:a16="http://schemas.microsoft.com/office/drawing/2014/main" id="{887C8EDA-FA8D-283E-29C1-6B273725AD73}"/>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1</a:t>
            </a:fld>
            <a:endParaRPr lang="en-US"/>
          </a:p>
        </p:txBody>
      </p:sp>
    </p:spTree>
    <p:extLst>
      <p:ext uri="{BB962C8B-B14F-4D97-AF65-F5344CB8AC3E}">
        <p14:creationId xmlns:p14="http://schemas.microsoft.com/office/powerpoint/2010/main" val="63907140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5B0CF-AD71-9F8C-FFBD-862027E1DE85}"/>
              </a:ext>
            </a:extLst>
          </p:cNvPr>
          <p:cNvSpPr>
            <a:spLocks noGrp="1"/>
          </p:cNvSpPr>
          <p:nvPr>
            <p:ph type="ctrTitle"/>
          </p:nvPr>
        </p:nvSpPr>
        <p:spPr>
          <a:xfrm>
            <a:off x="1143000" y="1122363"/>
            <a:ext cx="6858000" cy="2387600"/>
          </a:xfrm>
        </p:spPr>
        <p:txBody>
          <a:bodyPr anchor="b">
            <a:normAutofit/>
          </a:bodyPr>
          <a:lstStyle/>
          <a:p>
            <a:r>
              <a:rPr lang="fr-CA" sz="4500" b="0" i="0" strike="noStrike" cap="none" spc="0" baseline="0">
                <a:solidFill>
                  <a:srgbClr val="000000"/>
                </a:solidFill>
                <a:effectLst/>
                <a:latin typeface="Calibri Light"/>
                <a:ea typeface="Calibri Light"/>
                <a:cs typeface="Calibri Light"/>
              </a:rPr>
              <a:t>Réponse...</a:t>
            </a:r>
          </a:p>
        </p:txBody>
      </p:sp>
      <p:sp>
        <p:nvSpPr>
          <p:cNvPr id="3" name="Content Placeholder 2">
            <a:extLst>
              <a:ext uri="{FF2B5EF4-FFF2-40B4-BE49-F238E27FC236}">
                <a16:creationId xmlns:a16="http://schemas.microsoft.com/office/drawing/2014/main" id="{800FB85F-FAA5-6EF4-2934-3E9F00A24524}"/>
              </a:ext>
            </a:extLst>
          </p:cNvPr>
          <p:cNvSpPr>
            <a:spLocks noGrp="1"/>
          </p:cNvSpPr>
          <p:nvPr>
            <p:ph type="subTitle" idx="1"/>
          </p:nvPr>
        </p:nvSpPr>
        <p:spPr>
          <a:xfrm>
            <a:off x="1143000" y="3602038"/>
            <a:ext cx="6858000" cy="1655762"/>
          </a:xfrm>
        </p:spPr>
        <p:txBody>
          <a:bodyPr>
            <a:normAutofit fontScale="95000" lnSpcReduction="10000"/>
          </a:bodyPr>
          <a:lstStyle/>
          <a:p>
            <a:pPr marL="0" indent="0">
              <a:buNone/>
            </a:pPr>
            <a:r>
              <a:rPr lang="fr-CA" sz="1800" b="0" i="0" strike="noStrike" cap="none" spc="0" baseline="0">
                <a:solidFill>
                  <a:srgbClr val="000000"/>
                </a:solidFill>
                <a:effectLst/>
                <a:latin typeface="Calibri"/>
                <a:ea typeface="Calibri"/>
                <a:cs typeface="Calibri"/>
              </a:rPr>
              <a:t>L’énoncé ci-dessus est </a:t>
            </a:r>
            <a:r>
              <a:rPr lang="fr-CA" sz="1800" b="0" i="0" strike="noStrike" cap="none" spc="0" baseline="0">
                <a:solidFill>
                  <a:srgbClr val="FF0000"/>
                </a:solidFill>
                <a:effectLst/>
                <a:latin typeface="Calibri"/>
                <a:ea typeface="Calibri"/>
                <a:cs typeface="Calibri"/>
              </a:rPr>
              <a:t>faux.</a:t>
            </a:r>
          </a:p>
          <a:p>
            <a:pPr marL="0" indent="0">
              <a:buNone/>
            </a:pPr>
            <a:endParaRPr lang="en-GB">
              <a:solidFill>
                <a:srgbClr val="FF0000"/>
              </a:solidFill>
            </a:endParaRPr>
          </a:p>
          <a:p>
            <a:pPr marL="0" indent="0">
              <a:buNone/>
            </a:pPr>
            <a:r>
              <a:rPr lang="fr-CA" sz="1800" b="0" i="0" strike="noStrike" cap="none" spc="0" baseline="0">
                <a:solidFill>
                  <a:srgbClr val="000000"/>
                </a:solidFill>
                <a:effectLst/>
                <a:latin typeface="Calibri"/>
                <a:ea typeface="Calibri"/>
                <a:cs typeface="Calibri"/>
              </a:rPr>
              <a:t>Le harcèlement a une incidence sur la cible du comportement inapproprié. Mais cela a également un impact sur les autres – et envoie un message sur ce qui est acceptable et ce qui ne l’est pas sur le lieu de travail à quiconque le voit ou en apprend davantage à son sujet</a:t>
            </a:r>
          </a:p>
        </p:txBody>
      </p:sp>
      <p:sp>
        <p:nvSpPr>
          <p:cNvPr id="4" name="Date Placeholder 3" hidden="1">
            <a:extLst>
              <a:ext uri="{FF2B5EF4-FFF2-40B4-BE49-F238E27FC236}">
                <a16:creationId xmlns:a16="http://schemas.microsoft.com/office/drawing/2014/main" id="{721FA72F-4212-FE12-1424-62C3FEE3D4ED}"/>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38CE618F-A5D6-E7C6-2EA4-C0E26217EC3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2</a:t>
            </a:fld>
            <a:endParaRPr lang="en-US"/>
          </a:p>
        </p:txBody>
      </p:sp>
    </p:spTree>
    <p:extLst>
      <p:ext uri="{BB962C8B-B14F-4D97-AF65-F5344CB8AC3E}">
        <p14:creationId xmlns:p14="http://schemas.microsoft.com/office/powerpoint/2010/main" val="416584947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9488-AD7C-C86B-4344-F39C58EFA7B1}"/>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Harcèlement sexuel – pouvez-vous le repérer? </a:t>
            </a:r>
          </a:p>
        </p:txBody>
      </p:sp>
      <p:sp>
        <p:nvSpPr>
          <p:cNvPr id="5" name="Slide Number Placeholder 4" hidden="1">
            <a:extLst>
              <a:ext uri="{FF2B5EF4-FFF2-40B4-BE49-F238E27FC236}">
                <a16:creationId xmlns:a16="http://schemas.microsoft.com/office/drawing/2014/main" id="{2A181491-B689-7B55-6950-8F5EF03E8E80}"/>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3</a:t>
            </a:fld>
            <a:endParaRPr lang="en-US"/>
          </a:p>
        </p:txBody>
      </p:sp>
      <p:graphicFrame>
        <p:nvGraphicFramePr>
          <p:cNvPr id="8" name="TextBox 5">
            <a:extLst>
              <a:ext uri="{FF2B5EF4-FFF2-40B4-BE49-F238E27FC236}">
                <a16:creationId xmlns:a16="http://schemas.microsoft.com/office/drawing/2014/main" id="{25435880-DE83-4AE6-0C0C-E8BEDD12548D}"/>
              </a:ext>
            </a:extLst>
          </p:cNvPr>
          <p:cNvGraphicFramePr/>
          <p:nvPr>
            <p:extLst>
              <p:ext uri="{D42A27DB-BD31-4B8C-83A1-F6EECF244321}">
                <p14:modId xmlns:p14="http://schemas.microsoft.com/office/powerpoint/2010/main" val="800698706"/>
              </p:ext>
            </p:extLst>
          </p:nvPr>
        </p:nvGraphicFramePr>
        <p:xfrm>
          <a:off x="628650" y="2203704"/>
          <a:ext cx="7866126" cy="444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2F99416-9CFC-4A6D-56C2-F38A9754D7B6}"/>
              </a:ext>
            </a:extLst>
          </p:cNvPr>
          <p:cNvSpPr txBox="1"/>
          <p:nvPr/>
        </p:nvSpPr>
        <p:spPr>
          <a:xfrm>
            <a:off x="628650" y="1765218"/>
            <a:ext cx="8282178" cy="640080"/>
          </a:xfrm>
          <a:prstGeom prst="rect">
            <a:avLst/>
          </a:prstGeom>
          <a:noFill/>
        </p:spPr>
        <p:txBody>
          <a:bodyPr wrap="square">
            <a:spAutoFit/>
          </a:bodyPr>
          <a:lstStyle/>
          <a:p>
            <a:pPr marL="0"/>
            <a:r>
              <a:rPr lang="fr-CA" sz="1800" b="0" i="0" strike="noStrike" cap="none" spc="0" baseline="0">
                <a:solidFill>
                  <a:srgbClr val="000000"/>
                </a:solidFill>
                <a:effectLst/>
                <a:latin typeface="Calibri"/>
                <a:ea typeface="Calibri"/>
                <a:cs typeface="Calibri"/>
              </a:rPr>
              <a:t>N’importe qui peut se livrer à du harcèlement sexuel, et n’importe qui peut être la cible, y compris :</a:t>
            </a:r>
          </a:p>
        </p:txBody>
      </p:sp>
    </p:spTree>
    <p:extLst>
      <p:ext uri="{BB962C8B-B14F-4D97-AF65-F5344CB8AC3E}">
        <p14:creationId xmlns:p14="http://schemas.microsoft.com/office/powerpoint/2010/main" val="96912744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D89D8-C4F0-F31B-727F-15B2F6DC5152}"/>
              </a:ext>
            </a:extLst>
          </p:cNvPr>
          <p:cNvSpPr>
            <a:spLocks noGrp="1"/>
          </p:cNvSpPr>
          <p:nvPr>
            <p:ph type="title"/>
          </p:nvPr>
        </p:nvSpPr>
        <p:spPr/>
        <p:txBody>
          <a:bodyPr/>
          <a:lstStyle/>
          <a:p>
            <a:r>
              <a:rPr lang="fr-CA" sz="2000" b="0" i="0" strike="noStrike" cap="none" spc="0" baseline="0">
                <a:solidFill>
                  <a:srgbClr val="FFFFFF"/>
                </a:solidFill>
                <a:effectLst/>
                <a:latin typeface="Calibri Light"/>
                <a:ea typeface="Calibri Light"/>
                <a:cs typeface="Calibri Light"/>
              </a:rPr>
              <a:t>Langage et commentaires inappropriés</a:t>
            </a:r>
          </a:p>
        </p:txBody>
      </p:sp>
      <p:sp>
        <p:nvSpPr>
          <p:cNvPr id="3" name="Content Placeholder 2">
            <a:extLst>
              <a:ext uri="{FF2B5EF4-FFF2-40B4-BE49-F238E27FC236}">
                <a16:creationId xmlns:a16="http://schemas.microsoft.com/office/drawing/2014/main" id="{7A675047-B99C-FF66-70F8-F831DAF17610}"/>
              </a:ext>
            </a:extLst>
          </p:cNvPr>
          <p:cNvSpPr>
            <a:spLocks noGrp="1"/>
          </p:cNvSpPr>
          <p:nvPr>
            <p:ph idx="1"/>
          </p:nvPr>
        </p:nvSpPr>
        <p:spPr/>
        <p:txBody>
          <a:bodyPr>
            <a:normAutofit fontScale="95000" lnSpcReduction="10000"/>
          </a:bodyPr>
          <a:lstStyle/>
          <a:p>
            <a:pPr marL="0" indent="0">
              <a:buNone/>
            </a:pPr>
            <a:r>
              <a:rPr lang="fr-CA" sz="2100" b="0" i="0" strike="noStrike" cap="none" spc="0" baseline="0">
                <a:solidFill>
                  <a:srgbClr val="000000"/>
                </a:solidFill>
                <a:effectLst/>
                <a:latin typeface="Calibri"/>
                <a:ea typeface="Calibri"/>
                <a:cs typeface="Calibri"/>
              </a:rPr>
              <a:t>Ces scénarios sont-ils inappropriés?</a:t>
            </a:r>
          </a:p>
          <a:p>
            <a:endParaRPr lang="en-GB"/>
          </a:p>
          <a:p>
            <a:pPr marL="685775" lvl="1" indent="-342900">
              <a:buFont typeface="+mj-lt"/>
              <a:buAutoNum type="arabicPeriod"/>
            </a:pPr>
            <a:r>
              <a:rPr lang="fr-CA" sz="1800" b="0" i="0" strike="noStrike" cap="none" spc="0" baseline="0">
                <a:solidFill>
                  <a:srgbClr val="000000"/>
                </a:solidFill>
                <a:effectLst/>
                <a:latin typeface="Calibri"/>
                <a:ea typeface="Calibri"/>
                <a:cs typeface="Calibri"/>
              </a:rPr>
              <a:t>Un fournisseur communique avec vous sans la permission de toucher le visage d’un autre employé pour retirer un cil.</a:t>
            </a:r>
          </a:p>
          <a:p>
            <a:pPr marL="685775" lvl="1" indent="-342900">
              <a:buFont typeface="+mj-lt"/>
              <a:buAutoNum type="arabicPeriod"/>
            </a:pPr>
            <a:r>
              <a:rPr lang="fr-CA" sz="1800" b="0" i="0" strike="noStrike" cap="none" spc="0" baseline="0">
                <a:solidFill>
                  <a:srgbClr val="000000"/>
                </a:solidFill>
                <a:effectLst/>
                <a:latin typeface="Calibri"/>
                <a:ea typeface="Calibri"/>
                <a:cs typeface="Calibri"/>
              </a:rPr>
              <a:t>Un gestionnaire encourage une employée à utiliser ses « breloques féminines » pour faire valoir son point dans une réunion.</a:t>
            </a:r>
          </a:p>
          <a:p>
            <a:pPr marL="685775" lvl="1" indent="-342900">
              <a:buFont typeface="+mj-lt"/>
              <a:buAutoNum type="arabicPeriod"/>
            </a:pPr>
            <a:r>
              <a:rPr lang="fr-CA" sz="1800" b="0" i="0" strike="noStrike" cap="none" spc="0" baseline="0">
                <a:solidFill>
                  <a:srgbClr val="000000"/>
                </a:solidFill>
                <a:effectLst/>
                <a:latin typeface="Calibri"/>
                <a:ea typeface="Calibri"/>
                <a:cs typeface="Calibri"/>
              </a:rPr>
              <a:t>Un collègue fait un commentaire sur le statut non binaire d’un client... « C’est juste une tendance »... « Il, elle, ils... Quoi qu’il en soit! »</a:t>
            </a:r>
          </a:p>
          <a:p>
            <a:pPr lvl="1"/>
            <a:endParaRPr lang="en-GB"/>
          </a:p>
          <a:p>
            <a:pPr marL="342875" lvl="1" indent="0">
              <a:buNone/>
            </a:pPr>
            <a:r>
              <a:rPr lang="fr-CA" sz="1800" b="0" i="0" strike="noStrike" cap="none" spc="0" baseline="0">
                <a:solidFill>
                  <a:srgbClr val="000000"/>
                </a:solidFill>
                <a:effectLst/>
                <a:latin typeface="Calibri"/>
                <a:ea typeface="Calibri"/>
                <a:cs typeface="Calibri"/>
              </a:rPr>
              <a:t>RÉPONSE... </a:t>
            </a:r>
            <a:r>
              <a:rPr lang="fr-CA" sz="1800" b="1" i="0" strike="noStrike" cap="none" spc="0" baseline="0">
                <a:solidFill>
                  <a:srgbClr val="FF0000"/>
                </a:solidFill>
                <a:effectLst/>
                <a:latin typeface="Calibri"/>
                <a:ea typeface="Calibri"/>
                <a:cs typeface="Calibri"/>
              </a:rPr>
              <a:t>OUI! </a:t>
            </a:r>
          </a:p>
          <a:p>
            <a:pPr marL="342875" lvl="1" indent="0">
              <a:buNone/>
            </a:pPr>
            <a:endParaRPr lang="en-GB" b="1">
              <a:solidFill>
                <a:srgbClr val="FF0000"/>
              </a:solidFill>
            </a:endParaRPr>
          </a:p>
          <a:p>
            <a:pPr marL="342875" lvl="1" indent="0">
              <a:buNone/>
            </a:pPr>
            <a:r>
              <a:rPr lang="fr-CA" sz="1800" b="0" i="0" strike="noStrike" cap="none" spc="0" baseline="0">
                <a:solidFill>
                  <a:srgbClr val="000000"/>
                </a:solidFill>
                <a:effectLst/>
                <a:latin typeface="Calibri"/>
                <a:ea typeface="Calibri"/>
                <a:cs typeface="Calibri"/>
              </a:rPr>
              <a:t>N’oubliez pas... Le harcèlement sexuel peut comprendre une conduite importune ou offensante envers les personnes suivantes :</a:t>
            </a:r>
          </a:p>
          <a:p>
            <a:pPr marL="342875" lvl="1" indent="0">
              <a:buNone/>
            </a:pPr>
            <a:endParaRPr lang="en-GB"/>
          </a:p>
          <a:p>
            <a:pPr marL="342875" lvl="1" indent="0">
              <a:buNone/>
            </a:pPr>
            <a:r>
              <a:rPr lang="fr-CA" sz="1800" b="0" i="0" strike="noStrike" cap="none" spc="0" baseline="0">
                <a:solidFill>
                  <a:srgbClr val="000000"/>
                </a:solidFill>
                <a:effectLst/>
                <a:latin typeface="Calibri"/>
                <a:ea typeface="Calibri"/>
                <a:cs typeface="Calibri"/>
              </a:rPr>
              <a:t>	- Identité de genre</a:t>
            </a:r>
          </a:p>
          <a:p>
            <a:pPr marL="342875" lvl="1" indent="0">
              <a:buNone/>
            </a:pPr>
            <a:r>
              <a:rPr lang="fr-CA" sz="1800" b="0" i="0" strike="noStrike" cap="none" spc="0" baseline="0">
                <a:solidFill>
                  <a:srgbClr val="000000"/>
                </a:solidFill>
                <a:effectLst/>
                <a:latin typeface="Calibri"/>
                <a:ea typeface="Calibri"/>
                <a:cs typeface="Calibri"/>
              </a:rPr>
              <a:t>	- Expression de genre </a:t>
            </a:r>
          </a:p>
          <a:p>
            <a:pPr marL="342875" lvl="1" indent="0">
              <a:buNone/>
            </a:pPr>
            <a:r>
              <a:rPr lang="fr-CA" sz="1800" b="0" i="0" strike="noStrike" cap="none" spc="0" baseline="0">
                <a:solidFill>
                  <a:srgbClr val="000000"/>
                </a:solidFill>
                <a:effectLst/>
                <a:latin typeface="Calibri"/>
                <a:ea typeface="Calibri"/>
                <a:cs typeface="Calibri"/>
              </a:rPr>
              <a:t>	- Statut transgenre</a:t>
            </a:r>
          </a:p>
          <a:p>
            <a:pPr marL="342875" lvl="1" indent="0">
              <a:buNone/>
            </a:pPr>
            <a:r>
              <a:rPr lang="fr-CA" sz="1800" b="0" i="0" strike="noStrike" cap="none" spc="0" baseline="0">
                <a:solidFill>
                  <a:srgbClr val="000000"/>
                </a:solidFill>
                <a:effectLst/>
                <a:latin typeface="Calibri"/>
                <a:ea typeface="Calibri"/>
                <a:cs typeface="Calibri"/>
              </a:rPr>
              <a:t>	- Orientation sexuelle</a:t>
            </a:r>
          </a:p>
        </p:txBody>
      </p:sp>
      <p:sp>
        <p:nvSpPr>
          <p:cNvPr id="5" name="Slide Number Placeholder 4">
            <a:extLst>
              <a:ext uri="{FF2B5EF4-FFF2-40B4-BE49-F238E27FC236}">
                <a16:creationId xmlns:a16="http://schemas.microsoft.com/office/drawing/2014/main" id="{D8B0E1BA-5FF0-2785-4FDB-357BAF0F1F4A}"/>
              </a:ext>
            </a:extLst>
          </p:cNvPr>
          <p:cNvSpPr>
            <a:spLocks noGrp="1"/>
          </p:cNvSpPr>
          <p:nvPr>
            <p:ph type="sldNum" sz="quarter" idx="4"/>
          </p:nvPr>
        </p:nvSpPr>
        <p:spPr/>
        <p:txBody>
          <a:bodyPr/>
          <a:lstStyle/>
          <a:p>
            <a:fld id="{BB5FC4A1-A2DE-4EB5-9A46-57D39B4235EC}" type="slidenum">
              <a:rPr lang="en-US" smtClean="0"/>
              <a:t>14</a:t>
            </a:fld>
            <a:endParaRPr lang="en-US"/>
          </a:p>
        </p:txBody>
      </p:sp>
    </p:spTree>
    <p:extLst>
      <p:ext uri="{BB962C8B-B14F-4D97-AF65-F5344CB8AC3E}">
        <p14:creationId xmlns:p14="http://schemas.microsoft.com/office/powerpoint/2010/main" val="4199026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BD99-728D-2A6F-22A6-5226E04A7CAF}"/>
              </a:ext>
            </a:extLst>
          </p:cNvPr>
          <p:cNvSpPr>
            <a:spLocks noGrp="1"/>
          </p:cNvSpPr>
          <p:nvPr>
            <p:ph type="title"/>
          </p:nvPr>
        </p:nvSpPr>
        <p:spPr/>
        <p:txBody>
          <a:bodyPr/>
          <a:lstStyle/>
          <a:p>
            <a:r>
              <a:rPr lang="fr-CA" sz="2000" b="0" i="0" strike="noStrike" cap="none" spc="0" baseline="0">
                <a:solidFill>
                  <a:srgbClr val="FFFFFF"/>
                </a:solidFill>
                <a:effectLst/>
                <a:latin typeface="Calibri Light"/>
                <a:ea typeface="Calibri Light"/>
                <a:cs typeface="Calibri Light"/>
              </a:rPr>
              <a:t>Environnement de travail hostile</a:t>
            </a:r>
          </a:p>
        </p:txBody>
      </p:sp>
      <p:sp>
        <p:nvSpPr>
          <p:cNvPr id="5" name="Slide Number Placeholder 4">
            <a:extLst>
              <a:ext uri="{FF2B5EF4-FFF2-40B4-BE49-F238E27FC236}">
                <a16:creationId xmlns:a16="http://schemas.microsoft.com/office/drawing/2014/main" id="{010333A6-3546-C11B-87C7-BE48050D68A8}"/>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8" name="TextBox 7">
            <a:extLst>
              <a:ext uri="{FF2B5EF4-FFF2-40B4-BE49-F238E27FC236}">
                <a16:creationId xmlns:a16="http://schemas.microsoft.com/office/drawing/2014/main" id="{A15DFE61-20E0-D5EC-D0CE-22F6BE2E082B}"/>
              </a:ext>
            </a:extLst>
          </p:cNvPr>
          <p:cNvSpPr txBox="1"/>
          <p:nvPr/>
        </p:nvSpPr>
        <p:spPr>
          <a:xfrm>
            <a:off x="371440" y="6305788"/>
            <a:ext cx="8261946" cy="640080"/>
          </a:xfrm>
          <a:prstGeom prst="rect">
            <a:avLst/>
          </a:prstGeom>
          <a:noFill/>
        </p:spPr>
        <p:txBody>
          <a:bodyPr wrap="square" rtlCol="0">
            <a:spAutoFit/>
          </a:bodyPr>
          <a:lstStyle/>
          <a:p>
            <a:pPr algn="ctr"/>
            <a:r>
              <a:rPr lang="fr-CA" sz="1800" b="0" i="0" strike="noStrike" cap="none" spc="0" baseline="0">
                <a:solidFill>
                  <a:srgbClr val="FF0000"/>
                </a:solidFill>
                <a:effectLst/>
                <a:latin typeface="Calibri"/>
                <a:ea typeface="Calibri"/>
                <a:cs typeface="Calibri"/>
              </a:rPr>
              <a:t>Faites toujours preuve de jugement pour vous assurer que votre comportement est respectueux</a:t>
            </a:r>
          </a:p>
        </p:txBody>
      </p:sp>
      <p:sp>
        <p:nvSpPr>
          <p:cNvPr id="3" name="TextBox 2">
            <a:extLst>
              <a:ext uri="{FF2B5EF4-FFF2-40B4-BE49-F238E27FC236}">
                <a16:creationId xmlns:a16="http://schemas.microsoft.com/office/drawing/2014/main" id="{47710745-2062-F17B-E90E-EA2A4D39D9B6}"/>
              </a:ext>
            </a:extLst>
          </p:cNvPr>
          <p:cNvSpPr txBox="1"/>
          <p:nvPr/>
        </p:nvSpPr>
        <p:spPr>
          <a:xfrm>
            <a:off x="822960" y="1528468"/>
            <a:ext cx="7847861" cy="640080"/>
          </a:xfrm>
          <a:prstGeom prst="rect">
            <a:avLst/>
          </a:prstGeom>
          <a:noFill/>
        </p:spPr>
        <p:txBody>
          <a:bodyPr wrap="square" rtlCol="0">
            <a:spAutoFit/>
          </a:bodyPr>
          <a:lstStyle/>
          <a:p>
            <a:r>
              <a:rPr lang="fr-CA" sz="1800" b="0" i="0" strike="noStrike" cap="none" spc="0" baseline="0">
                <a:solidFill>
                  <a:srgbClr val="000000"/>
                </a:solidFill>
                <a:effectLst/>
                <a:latin typeface="Calibri"/>
                <a:ea typeface="Calibri"/>
                <a:cs typeface="Calibri"/>
              </a:rPr>
              <a:t>Voici des exemples de conduite pouvant mener à un environnement de travail hostile :</a:t>
            </a:r>
          </a:p>
        </p:txBody>
      </p:sp>
      <p:graphicFrame>
        <p:nvGraphicFramePr>
          <p:cNvPr id="4" name="Diagram 3">
            <a:extLst>
              <a:ext uri="{FF2B5EF4-FFF2-40B4-BE49-F238E27FC236}">
                <a16:creationId xmlns:a16="http://schemas.microsoft.com/office/drawing/2014/main" id="{F066EC6C-DCB6-3357-ABD4-0298BB5F32F6}"/>
              </a:ext>
            </a:extLst>
          </p:cNvPr>
          <p:cNvGraphicFramePr/>
          <p:nvPr>
            <p:extLst>
              <p:ext uri="{D42A27DB-BD31-4B8C-83A1-F6EECF244321}">
                <p14:modId xmlns:p14="http://schemas.microsoft.com/office/powerpoint/2010/main" val="4032776383"/>
              </p:ext>
            </p:extLst>
          </p:nvPr>
        </p:nvGraphicFramePr>
        <p:xfrm>
          <a:off x="905521" y="1897800"/>
          <a:ext cx="7084381" cy="4628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48269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93504-B4E9-2A53-F774-60838F5F4089}"/>
              </a:ext>
            </a:extLst>
          </p:cNvPr>
          <p:cNvSpPr>
            <a:spLocks noGrp="1"/>
          </p:cNvSpPr>
          <p:nvPr>
            <p:ph type="title"/>
          </p:nvPr>
        </p:nvSpPr>
        <p:spPr>
          <a:xfrm>
            <a:off x="822960" y="182880"/>
            <a:ext cx="7358907" cy="787032"/>
          </a:xfrm>
        </p:spPr>
        <p:txBody>
          <a:bodyPr anchor="ctr">
            <a:normAutofit/>
          </a:bodyPr>
          <a:lstStyle/>
          <a:p>
            <a:r>
              <a:rPr lang="fr-CA" sz="2000" b="0" i="0" strike="noStrike" cap="none" spc="0" baseline="0">
                <a:solidFill>
                  <a:srgbClr val="FFFFFF"/>
                </a:solidFill>
                <a:effectLst/>
                <a:latin typeface="Calibri Light"/>
                <a:ea typeface="Calibri Light"/>
                <a:cs typeface="Calibri Light"/>
              </a:rPr>
              <a:t>Sur place ou hors site</a:t>
            </a:r>
          </a:p>
        </p:txBody>
      </p:sp>
      <p:sp>
        <p:nvSpPr>
          <p:cNvPr id="5" name="Slide Number Placeholder 4">
            <a:extLst>
              <a:ext uri="{FF2B5EF4-FFF2-40B4-BE49-F238E27FC236}">
                <a16:creationId xmlns:a16="http://schemas.microsoft.com/office/drawing/2014/main" id="{76041D41-19C3-C0F8-D7C8-57DBB24DE412}"/>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16</a:t>
            </a:fld>
            <a:endParaRPr lang="en-US"/>
          </a:p>
        </p:txBody>
      </p:sp>
      <p:graphicFrame>
        <p:nvGraphicFramePr>
          <p:cNvPr id="8" name="Content Placeholder 2">
            <a:extLst>
              <a:ext uri="{FF2B5EF4-FFF2-40B4-BE49-F238E27FC236}">
                <a16:creationId xmlns:a16="http://schemas.microsoft.com/office/drawing/2014/main" id="{A18E2935-DEEB-A2F1-2E13-5C287F219845}"/>
              </a:ext>
            </a:extLst>
          </p:cNvPr>
          <p:cNvGraphicFramePr>
            <a:graphicFrameLocks noGrp="1"/>
          </p:cNvGraphicFramePr>
          <p:nvPr>
            <p:ph idx="1"/>
            <p:extLst>
              <p:ext uri="{D42A27DB-BD31-4B8C-83A1-F6EECF244321}">
                <p14:modId xmlns:p14="http://schemas.microsoft.com/office/powerpoint/2010/main" val="3759020485"/>
              </p:ext>
            </p:extLst>
          </p:nvPr>
        </p:nvGraphicFramePr>
        <p:xfrm>
          <a:off x="1553473" y="2221778"/>
          <a:ext cx="5751576" cy="380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617987A-B474-0F02-9399-C3497F7BC0B9}"/>
              </a:ext>
            </a:extLst>
          </p:cNvPr>
          <p:cNvSpPr txBox="1"/>
          <p:nvPr/>
        </p:nvSpPr>
        <p:spPr>
          <a:xfrm>
            <a:off x="1989670" y="1620274"/>
            <a:ext cx="4879181" cy="914400"/>
          </a:xfrm>
          <a:prstGeom prst="rect">
            <a:avLst/>
          </a:prstGeom>
          <a:noFill/>
        </p:spPr>
        <p:txBody>
          <a:bodyPr wrap="square" rtlCol="0">
            <a:spAutoFit/>
          </a:bodyPr>
          <a:lstStyle/>
          <a:p>
            <a:r>
              <a:rPr lang="fr-CA" sz="1800" b="1" i="0" strike="noStrike" cap="none" spc="0" baseline="0">
                <a:solidFill>
                  <a:srgbClr val="000000"/>
                </a:solidFill>
                <a:effectLst/>
                <a:latin typeface="Calibri"/>
                <a:ea typeface="Calibri"/>
                <a:cs typeface="Calibri"/>
              </a:rPr>
              <a:t>Les lois et nos politiques s’appliquent également hors site, y compris</a:t>
            </a:r>
          </a:p>
        </p:txBody>
      </p:sp>
      <p:sp>
        <p:nvSpPr>
          <p:cNvPr id="10" name="TextBox 9">
            <a:extLst>
              <a:ext uri="{FF2B5EF4-FFF2-40B4-BE49-F238E27FC236}">
                <a16:creationId xmlns:a16="http://schemas.microsoft.com/office/drawing/2014/main" id="{005B49E7-54D4-4F8F-19AA-C7F830247548}"/>
              </a:ext>
            </a:extLst>
          </p:cNvPr>
          <p:cNvSpPr txBox="1"/>
          <p:nvPr/>
        </p:nvSpPr>
        <p:spPr>
          <a:xfrm>
            <a:off x="551000" y="6125592"/>
            <a:ext cx="8042000" cy="640080"/>
          </a:xfrm>
          <a:prstGeom prst="rect">
            <a:avLst/>
          </a:prstGeom>
          <a:noFill/>
        </p:spPr>
        <p:txBody>
          <a:bodyPr wrap="square" rtlCol="0">
            <a:spAutoFit/>
          </a:bodyPr>
          <a:lstStyle/>
          <a:p>
            <a:r>
              <a:rPr lang="fr-CA" sz="1800" b="1" i="0" strike="noStrike" cap="none" spc="0" baseline="0">
                <a:solidFill>
                  <a:srgbClr val="000000"/>
                </a:solidFill>
                <a:effectLst/>
                <a:latin typeface="Calibri"/>
                <a:ea typeface="Calibri"/>
                <a:cs typeface="Calibri"/>
              </a:rPr>
              <a:t>Les lois et nos politiques s’appliquent à tous, peu importe où ils travaillent</a:t>
            </a:r>
          </a:p>
        </p:txBody>
      </p:sp>
    </p:spTree>
    <p:extLst>
      <p:ext uri="{BB962C8B-B14F-4D97-AF65-F5344CB8AC3E}">
        <p14:creationId xmlns:p14="http://schemas.microsoft.com/office/powerpoint/2010/main" val="29807949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38BE-D35C-18F4-DD18-076F9D973F35}"/>
              </a:ext>
            </a:extLst>
          </p:cNvPr>
          <p:cNvSpPr>
            <a:spLocks noGrp="1"/>
          </p:cNvSpPr>
          <p:nvPr>
            <p:ph type="title"/>
          </p:nvPr>
        </p:nvSpPr>
        <p:spPr/>
        <p:txBody>
          <a:bodyPr/>
          <a:lstStyle/>
          <a:p>
            <a:r>
              <a:rPr lang="fr-CA" sz="2000" b="0" i="0" strike="noStrike" cap="none" spc="0" baseline="0">
                <a:solidFill>
                  <a:srgbClr val="FFFFFF"/>
                </a:solidFill>
                <a:effectLst/>
                <a:latin typeface="Calibri Light"/>
                <a:ea typeface="Calibri Light"/>
                <a:cs typeface="Calibri Light"/>
              </a:rPr>
              <a:t>Discrimination</a:t>
            </a:r>
          </a:p>
        </p:txBody>
      </p:sp>
      <p:sp>
        <p:nvSpPr>
          <p:cNvPr id="5" name="Slide Number Placeholder 4">
            <a:extLst>
              <a:ext uri="{FF2B5EF4-FFF2-40B4-BE49-F238E27FC236}">
                <a16:creationId xmlns:a16="http://schemas.microsoft.com/office/drawing/2014/main" id="{D4EE7B1D-3612-EFA3-F9DC-ECF372B09B51}"/>
              </a:ext>
            </a:extLst>
          </p:cNvPr>
          <p:cNvSpPr>
            <a:spLocks noGrp="1"/>
          </p:cNvSpPr>
          <p:nvPr>
            <p:ph type="sldNum" sz="quarter" idx="4"/>
          </p:nvPr>
        </p:nvSpPr>
        <p:spPr/>
        <p:txBody>
          <a:bodyPr/>
          <a:lstStyle/>
          <a:p>
            <a:fld id="{BB5FC4A1-A2DE-4EB5-9A46-57D39B4235EC}" type="slidenum">
              <a:rPr lang="en-US" smtClean="0"/>
              <a:t>17</a:t>
            </a:fld>
            <a:endParaRPr lang="en-US"/>
          </a:p>
        </p:txBody>
      </p:sp>
      <p:sp>
        <p:nvSpPr>
          <p:cNvPr id="3" name="TextBox 2">
            <a:extLst>
              <a:ext uri="{FF2B5EF4-FFF2-40B4-BE49-F238E27FC236}">
                <a16:creationId xmlns:a16="http://schemas.microsoft.com/office/drawing/2014/main" id="{1C66F432-C4F6-FCEE-F1EB-C13A0EC3264F}"/>
              </a:ext>
            </a:extLst>
          </p:cNvPr>
          <p:cNvSpPr txBox="1"/>
          <p:nvPr/>
        </p:nvSpPr>
        <p:spPr>
          <a:xfrm>
            <a:off x="639192" y="2024108"/>
            <a:ext cx="3357166" cy="5029198"/>
          </a:xfrm>
          <a:prstGeom prst="rect">
            <a:avLst/>
          </a:prstGeom>
          <a:noFill/>
        </p:spPr>
        <p:txBody>
          <a:bodyPr wrap="square" rtlCol="0">
            <a:spAutoFit/>
          </a:bodyPr>
          <a:lstStyle/>
          <a:p>
            <a:r>
              <a:rPr lang="fr-CA" sz="1800" b="0" i="0" strike="noStrike" cap="none" spc="0" baseline="0">
                <a:solidFill>
                  <a:srgbClr val="000000"/>
                </a:solidFill>
                <a:effectLst/>
                <a:latin typeface="Calibri"/>
                <a:ea typeface="Calibri"/>
                <a:cs typeface="Calibri"/>
              </a:rPr>
              <a:t>La discrimination peut avoir une incidence sur les décisions de travail importantes concernant la façon dont les gens obtiennent :</a:t>
            </a:r>
          </a:p>
          <a:p>
            <a:endParaRPr lang="en-US"/>
          </a:p>
          <a:p>
            <a:pPr marL="285750" indent="-285750">
              <a:buFont typeface="Arial" panose="020B0604020202020204" pitchFamily="34" charset="0"/>
              <a:buChar char="•"/>
            </a:pPr>
            <a:r>
              <a:rPr lang="fr-CA" sz="1800" b="0" i="0" strike="noStrike" cap="none" spc="0" baseline="0">
                <a:solidFill>
                  <a:srgbClr val="000000"/>
                </a:solidFill>
                <a:effectLst/>
                <a:latin typeface="Calibri"/>
                <a:ea typeface="Calibri"/>
                <a:cs typeface="Calibri"/>
              </a:rPr>
              <a:t>Embauché</a:t>
            </a:r>
          </a:p>
          <a:p>
            <a:pPr marL="285750" indent="-285750">
              <a:buFont typeface="Arial" panose="020B0604020202020204" pitchFamily="34" charset="0"/>
              <a:buChar char="•"/>
            </a:pPr>
            <a:r>
              <a:rPr lang="fr-CA" sz="1800" b="0" i="0" strike="noStrike" cap="none" spc="0" baseline="0">
                <a:solidFill>
                  <a:srgbClr val="000000"/>
                </a:solidFill>
                <a:effectLst/>
                <a:latin typeface="Calibri"/>
                <a:ea typeface="Calibri"/>
                <a:cs typeface="Calibri"/>
              </a:rPr>
              <a:t>Incendie</a:t>
            </a:r>
          </a:p>
          <a:p>
            <a:pPr marL="285750" indent="-285750">
              <a:buFont typeface="Arial" panose="020B0604020202020204" pitchFamily="34" charset="0"/>
              <a:buChar char="•"/>
            </a:pPr>
            <a:r>
              <a:rPr lang="fr-CA" sz="1800" b="0" i="0" strike="noStrike" cap="none" spc="0" baseline="0">
                <a:solidFill>
                  <a:srgbClr val="000000"/>
                </a:solidFill>
                <a:effectLst/>
                <a:latin typeface="Calibri"/>
                <a:ea typeface="Calibri"/>
                <a:cs typeface="Calibri"/>
              </a:rPr>
              <a:t>Payé</a:t>
            </a:r>
          </a:p>
          <a:p>
            <a:pPr marL="285750" indent="-285750">
              <a:buFont typeface="Arial" panose="020B0604020202020204" pitchFamily="34" charset="0"/>
              <a:buChar char="•"/>
            </a:pPr>
            <a:r>
              <a:rPr lang="fr-CA" sz="1800" b="0" i="0" strike="noStrike" cap="none" spc="0" baseline="0">
                <a:solidFill>
                  <a:srgbClr val="000000"/>
                </a:solidFill>
                <a:effectLst/>
                <a:latin typeface="Calibri"/>
                <a:ea typeface="Calibri"/>
                <a:cs typeface="Calibri"/>
              </a:rPr>
              <a:t>Promu</a:t>
            </a:r>
          </a:p>
          <a:p>
            <a:pPr marL="285750" indent="-285750">
              <a:buFont typeface="Arial" panose="020B0604020202020204" pitchFamily="34" charset="0"/>
              <a:buChar char="•"/>
            </a:pPr>
            <a:r>
              <a:rPr lang="fr-CA" sz="1800" b="0" i="0" strike="noStrike" cap="none" spc="0" baseline="0">
                <a:solidFill>
                  <a:srgbClr val="000000"/>
                </a:solidFill>
                <a:effectLst/>
                <a:latin typeface="Calibri"/>
                <a:ea typeface="Calibri"/>
                <a:cs typeface="Calibri"/>
              </a:rPr>
              <a:t>Démoté</a:t>
            </a:r>
          </a:p>
          <a:p>
            <a:endParaRPr lang="en-US"/>
          </a:p>
          <a:p>
            <a:r>
              <a:rPr lang="fr-CA" sz="1800" b="0" i="0" strike="noStrike" cap="none" spc="0" baseline="0">
                <a:solidFill>
                  <a:srgbClr val="000000"/>
                </a:solidFill>
                <a:effectLst/>
                <a:latin typeface="Calibri"/>
                <a:ea typeface="Calibri"/>
                <a:cs typeface="Calibri"/>
              </a:rPr>
              <a:t>Les lois interdisent les décisions fondées sur des motifs protégés.</a:t>
            </a:r>
          </a:p>
          <a:p>
            <a:endParaRPr lang="en-US"/>
          </a:p>
          <a:p>
            <a:endParaRPr lang="en-US"/>
          </a:p>
        </p:txBody>
      </p:sp>
      <p:pic>
        <p:nvPicPr>
          <p:cNvPr id="9" name="Content Placeholder 8" descr="A person and person shaking hands&#10;&#10;Description automatically generated">
            <a:extLst>
              <a:ext uri="{FF2B5EF4-FFF2-40B4-BE49-F238E27FC236}">
                <a16:creationId xmlns:a16="http://schemas.microsoft.com/office/drawing/2014/main" id="{9C1D1F2A-121C-6765-A5A7-1F5882EF555D}"/>
              </a:ext>
            </a:extLst>
          </p:cNvPr>
          <p:cNvPicPr>
            <a:picLocks noGrp="1" noChangeAspect="1"/>
          </p:cNvPicPr>
          <p:nvPr>
            <p:ph idx="1"/>
          </p:nvPr>
        </p:nvPicPr>
        <p:blipFill>
          <a:blip r:embed="rId2"/>
          <a:stretch>
            <a:fillRect/>
          </a:stretch>
        </p:blipFill>
        <p:spPr>
          <a:xfrm>
            <a:off x="4572000" y="2152325"/>
            <a:ext cx="4140200" cy="3105150"/>
          </a:xfrm>
        </p:spPr>
      </p:pic>
    </p:spTree>
    <p:extLst>
      <p:ext uri="{BB962C8B-B14F-4D97-AF65-F5344CB8AC3E}">
        <p14:creationId xmlns:p14="http://schemas.microsoft.com/office/powerpoint/2010/main" val="98166948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4E336-4484-55C6-395A-D378598BF4F8}"/>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Intimidation en milieu de travail</a:t>
            </a:r>
          </a:p>
        </p:txBody>
      </p:sp>
      <p:sp>
        <p:nvSpPr>
          <p:cNvPr id="9" name="TextBox 8">
            <a:extLst>
              <a:ext uri="{FF2B5EF4-FFF2-40B4-BE49-F238E27FC236}">
                <a16:creationId xmlns:a16="http://schemas.microsoft.com/office/drawing/2014/main" id="{87FEABC1-0E2B-CA86-F809-3DA3A9B36182}"/>
              </a:ext>
            </a:extLst>
          </p:cNvPr>
          <p:cNvSpPr txBox="1"/>
          <p:nvPr/>
        </p:nvSpPr>
        <p:spPr>
          <a:xfrm>
            <a:off x="628650" y="1508760"/>
            <a:ext cx="3886200" cy="5135424"/>
          </a:xfrm>
          <a:prstGeom prst="rect">
            <a:avLst/>
          </a:prstGeom>
        </p:spPr>
        <p:txBody>
          <a:bodyPr vert="horz" lIns="91440" tIns="45720" rIns="91440" bIns="45720" rtlCol="0">
            <a:normAutofit fontScale="97500"/>
          </a:bodyPr>
          <a:lstStyle/>
          <a:p>
            <a:pPr defTabSz="685749">
              <a:lnSpc>
                <a:spcPct val="90000"/>
              </a:lnSpc>
              <a:spcBef>
                <a:spcPts val="750"/>
              </a:spcBef>
            </a:pPr>
            <a:r>
              <a:rPr lang="fr-CA" sz="2100" b="0" i="0" strike="noStrike" cap="none" spc="0" baseline="0">
                <a:solidFill>
                  <a:srgbClr val="000000"/>
                </a:solidFill>
                <a:effectLst/>
                <a:latin typeface="Calibri"/>
                <a:ea typeface="Calibri"/>
                <a:cs typeface="Calibri"/>
              </a:rPr>
              <a:t>La politique de RPM interdit les comportements abusifs, tels que :</a:t>
            </a:r>
          </a:p>
          <a:p>
            <a:pPr defTabSz="685749">
              <a:lnSpc>
                <a:spcPct val="90000"/>
              </a:lnSpc>
              <a:spcBef>
                <a:spcPts val="750"/>
              </a:spcBef>
            </a:pPr>
            <a:endParaRPr lang="en-US" sz="2100"/>
          </a:p>
          <a:p>
            <a:pPr marL="171438" indent="-171438" defTabSz="685749">
              <a:lnSpc>
                <a:spcPct val="90000"/>
              </a:lnSpc>
              <a:spcBef>
                <a:spcPts val="750"/>
              </a:spcBef>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Intimidation en milieu de travail</a:t>
            </a:r>
          </a:p>
          <a:p>
            <a:pPr marL="171438" indent="-171438" defTabSz="685749">
              <a:lnSpc>
                <a:spcPct val="90000"/>
              </a:lnSpc>
              <a:spcBef>
                <a:spcPts val="750"/>
              </a:spcBef>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Harcèlement moral</a:t>
            </a:r>
          </a:p>
          <a:p>
            <a:pPr marL="171438" indent="-171438" defTabSz="685749">
              <a:lnSpc>
                <a:spcPct val="90000"/>
              </a:lnSpc>
              <a:spcBef>
                <a:spcPts val="750"/>
              </a:spcBef>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Harcèlement psychologique</a:t>
            </a:r>
          </a:p>
          <a:p>
            <a:pPr marL="171438" indent="-171438" defTabSz="685749">
              <a:lnSpc>
                <a:spcPct val="90000"/>
              </a:lnSpc>
              <a:spcBef>
                <a:spcPts val="750"/>
              </a:spcBef>
              <a:buFont typeface="Arial" panose="020B0604020202020204" pitchFamily="34" charset="0"/>
              <a:buChar char="•"/>
            </a:pPr>
            <a:r>
              <a:rPr lang="fr-CA" sz="2100" b="0" i="0" strike="noStrike" cap="none" spc="0" baseline="0">
                <a:solidFill>
                  <a:srgbClr val="000000"/>
                </a:solidFill>
                <a:effectLst/>
                <a:latin typeface="Calibri"/>
                <a:ea typeface="Calibri"/>
                <a:cs typeface="Calibri"/>
              </a:rPr>
              <a:t>Victimisation</a:t>
            </a:r>
            <a:endParaRPr lang="en-US" sz="2100"/>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fr-CA" sz="2100" b="0" i="0" strike="noStrike" cap="none" spc="0" baseline="0">
                <a:solidFill>
                  <a:srgbClr val="000000"/>
                </a:solidFill>
                <a:effectLst/>
                <a:latin typeface="Calibri"/>
                <a:ea typeface="Calibri"/>
                <a:cs typeface="Calibri"/>
              </a:rPr>
              <a:t>Les comportements abusifs ne seront pas tolérés et peuvent entraîner des mesures disciplinaires, voire le congédiement. </a:t>
            </a:r>
          </a:p>
        </p:txBody>
      </p:sp>
      <p:pic>
        <p:nvPicPr>
          <p:cNvPr id="13" name="Content Placeholder 12">
            <a:extLst>
              <a:ext uri="{FF2B5EF4-FFF2-40B4-BE49-F238E27FC236}">
                <a16:creationId xmlns:a16="http://schemas.microsoft.com/office/drawing/2014/main" id="{670D2939-C375-9080-79F4-79D7BEEB615C}"/>
              </a:ext>
            </a:extLst>
          </p:cNvPr>
          <p:cNvPicPr>
            <a:picLocks noGrp="1" noChangeAspect="1"/>
          </p:cNvPicPr>
          <p:nvPr>
            <p:ph sz="half" idx="2"/>
          </p:nvPr>
        </p:nvPicPr>
        <p:blipFill>
          <a:blip r:embed="rId2"/>
          <a:stretch>
            <a:fillRect/>
          </a:stretch>
        </p:blipFill>
        <p:spPr>
          <a:xfrm>
            <a:off x="4670412" y="1508125"/>
            <a:ext cx="3803676" cy="5135563"/>
          </a:xfrm>
        </p:spPr>
      </p:pic>
      <p:sp>
        <p:nvSpPr>
          <p:cNvPr id="5" name="Slide Number Placeholder 4" hidden="1">
            <a:extLst>
              <a:ext uri="{FF2B5EF4-FFF2-40B4-BE49-F238E27FC236}">
                <a16:creationId xmlns:a16="http://schemas.microsoft.com/office/drawing/2014/main" id="{1CE12886-C52E-1C5C-F8AC-E1C4DF71345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8</a:t>
            </a:fld>
            <a:endParaRPr lang="en-US"/>
          </a:p>
        </p:txBody>
      </p:sp>
    </p:spTree>
    <p:extLst>
      <p:ext uri="{BB962C8B-B14F-4D97-AF65-F5344CB8AC3E}">
        <p14:creationId xmlns:p14="http://schemas.microsoft.com/office/powerpoint/2010/main" val="141123654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4E63CD8-53B4-AF1A-FBA4-05945FE997A1}"/>
              </a:ext>
            </a:extLst>
          </p:cNvPr>
          <p:cNvSpPr txBox="1"/>
          <p:nvPr/>
        </p:nvSpPr>
        <p:spPr>
          <a:xfrm>
            <a:off x="431800" y="1508125"/>
            <a:ext cx="4071938" cy="4841875"/>
          </a:xfrm>
          <a:prstGeom prst="rect">
            <a:avLst/>
          </a:prstGeom>
        </p:spPr>
        <p:txBody>
          <a:bodyPr vert="horz" wrap="square" lIns="91440" tIns="45720" rIns="91440" bIns="45720" rtlCol="0" anchor="t">
            <a:normAutofit/>
          </a:bodyPr>
          <a:lstStyle/>
          <a:p>
            <a:pPr defTabSz="685749">
              <a:lnSpc>
                <a:spcPct val="90000"/>
              </a:lnSpc>
              <a:spcAft>
                <a:spcPts val="600"/>
              </a:spcAft>
            </a:pPr>
            <a:r>
              <a:rPr lang="fr-CA" sz="2600" b="1" i="0" strike="noStrike" cap="none" spc="0" baseline="0">
                <a:solidFill>
                  <a:srgbClr val="000000"/>
                </a:solidFill>
                <a:effectLst/>
                <a:latin typeface="Calibri"/>
                <a:ea typeface="Calibri"/>
                <a:cs typeface="Calibri"/>
              </a:rPr>
              <a:t>Scénario :</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fr-CA" sz="2600" b="0" i="0" strike="noStrike" cap="none" spc="0" baseline="0">
                <a:solidFill>
                  <a:srgbClr val="000000"/>
                </a:solidFill>
                <a:effectLst/>
                <a:latin typeface="Calibri"/>
                <a:ea typeface="Calibri"/>
                <a:cs typeface="Calibri"/>
              </a:rPr>
              <a:t>Quelqu’un au travail fait une blague décolorée et la défend en disant qu’il l’a entendue lors d’un match de football récent. </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fr-CA" sz="2600" b="0" i="1" strike="noStrike" cap="none" spc="0" baseline="0">
                <a:solidFill>
                  <a:srgbClr val="000000"/>
                </a:solidFill>
                <a:effectLst/>
                <a:latin typeface="Calibri"/>
                <a:ea typeface="Calibri"/>
                <a:cs typeface="Calibri"/>
              </a:rPr>
              <a:t>Pensez-vous qu’il est approprié de répéter des blagues de cette nature en milieu de travail?</a:t>
            </a:r>
          </a:p>
        </p:txBody>
      </p:sp>
      <p:sp>
        <p:nvSpPr>
          <p:cNvPr id="9" name="TextBox 8">
            <a:extLst>
              <a:ext uri="{FF2B5EF4-FFF2-40B4-BE49-F238E27FC236}">
                <a16:creationId xmlns:a16="http://schemas.microsoft.com/office/drawing/2014/main" id="{F525208C-D97C-1080-772A-E506B67C4128}"/>
              </a:ext>
            </a:extLst>
          </p:cNvPr>
          <p:cNvSpPr txBox="1"/>
          <p:nvPr/>
        </p:nvSpPr>
        <p:spPr>
          <a:xfrm>
            <a:off x="4880191" y="1508124"/>
            <a:ext cx="3927475" cy="4841875"/>
          </a:xfrm>
          <a:prstGeom prst="rect">
            <a:avLst/>
          </a:prstGeom>
          <a:noFill/>
        </p:spPr>
        <p:txBody>
          <a:bodyPr wrap="square" rtlCol="0" anchor="t">
            <a:normAutofit/>
          </a:bodyPr>
          <a:lstStyle/>
          <a:p>
            <a:pPr>
              <a:spcAft>
                <a:spcPts val="600"/>
              </a:spcAft>
            </a:pPr>
            <a:r>
              <a:rPr lang="fr-CA" sz="2600" b="1" i="0" strike="noStrike" cap="none" spc="0" baseline="0">
                <a:solidFill>
                  <a:srgbClr val="000000"/>
                </a:solidFill>
                <a:effectLst/>
                <a:latin typeface="Calibri"/>
                <a:ea typeface="Calibri"/>
                <a:cs typeface="Calibri"/>
              </a:rPr>
              <a:t>Réponse :</a:t>
            </a:r>
          </a:p>
          <a:p>
            <a:pPr>
              <a:spcAft>
                <a:spcPts val="600"/>
              </a:spcAft>
            </a:pPr>
            <a:endParaRPr lang="en-GB" sz="2600"/>
          </a:p>
          <a:p>
            <a:pPr>
              <a:spcAft>
                <a:spcPts val="600"/>
              </a:spcAft>
            </a:pPr>
            <a:r>
              <a:rPr lang="fr-CA" sz="2600" b="0" i="0" strike="noStrike" cap="none" spc="0" baseline="0">
                <a:solidFill>
                  <a:srgbClr val="000000"/>
                </a:solidFill>
                <a:effectLst/>
                <a:latin typeface="Calibri"/>
                <a:ea typeface="Calibri"/>
                <a:cs typeface="Calibri"/>
              </a:rPr>
              <a:t>Un comportement offensant n’est jamais acceptable dans un milieu de travail, même si certains le considèrent comme acceptable dans d’autres milieux ou pour d’autres publics. </a:t>
            </a:r>
          </a:p>
        </p:txBody>
      </p:sp>
      <p:sp>
        <p:nvSpPr>
          <p:cNvPr id="2" name="Title 1">
            <a:extLst>
              <a:ext uri="{FF2B5EF4-FFF2-40B4-BE49-F238E27FC236}">
                <a16:creationId xmlns:a16="http://schemas.microsoft.com/office/drawing/2014/main" id="{EA4F93A6-6B68-6A51-4F34-80231D8C0B15}"/>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Personnel vs travail</a:t>
            </a:r>
          </a:p>
        </p:txBody>
      </p:sp>
      <p:sp>
        <p:nvSpPr>
          <p:cNvPr id="5" name="Slide Number Placeholder 4">
            <a:extLst>
              <a:ext uri="{FF2B5EF4-FFF2-40B4-BE49-F238E27FC236}">
                <a16:creationId xmlns:a16="http://schemas.microsoft.com/office/drawing/2014/main" id="{81BF4237-341B-E413-CBB8-087B15F184A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9</a:t>
            </a:fld>
            <a:endParaRPr lang="en-US"/>
          </a:p>
        </p:txBody>
      </p:sp>
    </p:spTree>
    <p:extLst>
      <p:ext uri="{BB962C8B-B14F-4D97-AF65-F5344CB8AC3E}">
        <p14:creationId xmlns:p14="http://schemas.microsoft.com/office/powerpoint/2010/main" val="4282014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0D3AE-8EA9-876D-8F7D-D72B8762676A}"/>
              </a:ext>
            </a:extLst>
          </p:cNvPr>
          <p:cNvSpPr>
            <a:spLocks noGrp="1"/>
          </p:cNvSpPr>
          <p:nvPr>
            <p:ph type="title"/>
          </p:nvPr>
        </p:nvSpPr>
        <p:spPr/>
        <p:txBody>
          <a:bodyPr/>
          <a:lstStyle/>
          <a:p>
            <a:r>
              <a:rPr lang="fr-CA" sz="2000" b="0" i="0" strike="noStrike" cap="none" spc="0" baseline="0">
                <a:solidFill>
                  <a:srgbClr val="FFFFFF"/>
                </a:solidFill>
                <a:effectLst/>
                <a:latin typeface="Calibri Light"/>
                <a:ea typeface="Calibri Light"/>
                <a:cs typeface="Calibri Light"/>
              </a:rPr>
              <a:t>Prévention de la discrimination et du harcèlement </a:t>
            </a:r>
          </a:p>
        </p:txBody>
      </p:sp>
      <p:sp>
        <p:nvSpPr>
          <p:cNvPr id="5" name="Slide Number Placeholder 4">
            <a:extLst>
              <a:ext uri="{FF2B5EF4-FFF2-40B4-BE49-F238E27FC236}">
                <a16:creationId xmlns:a16="http://schemas.microsoft.com/office/drawing/2014/main" id="{FF27906F-DB2C-FA2B-83AB-BA4E1ACCE555}"/>
              </a:ext>
            </a:extLst>
          </p:cNvPr>
          <p:cNvSpPr>
            <a:spLocks noGrp="1"/>
          </p:cNvSpPr>
          <p:nvPr>
            <p:ph type="sldNum" sz="quarter" idx="4"/>
          </p:nvPr>
        </p:nvSpPr>
        <p:spPr/>
        <p:txBody>
          <a:bodyPr/>
          <a:lstStyle/>
          <a:p>
            <a:fld id="{BB5FC4A1-A2DE-4EB5-9A46-57D39B4235EC}" type="slidenum">
              <a:rPr lang="en-US" smtClean="0"/>
              <a:t>2</a:t>
            </a:fld>
            <a:endParaRPr lang="en-US"/>
          </a:p>
        </p:txBody>
      </p:sp>
      <p:sp>
        <p:nvSpPr>
          <p:cNvPr id="8" name="TextBox 7">
            <a:extLst>
              <a:ext uri="{FF2B5EF4-FFF2-40B4-BE49-F238E27FC236}">
                <a16:creationId xmlns:a16="http://schemas.microsoft.com/office/drawing/2014/main" id="{87671493-6848-DBAF-4C09-CA1EE485840B}"/>
              </a:ext>
            </a:extLst>
          </p:cNvPr>
          <p:cNvSpPr txBox="1"/>
          <p:nvPr/>
        </p:nvSpPr>
        <p:spPr>
          <a:xfrm>
            <a:off x="299213" y="1711717"/>
            <a:ext cx="8604504" cy="5029198"/>
          </a:xfrm>
          <a:prstGeom prst="rect">
            <a:avLst/>
          </a:prstGeom>
          <a:noFill/>
        </p:spPr>
        <p:txBody>
          <a:bodyPr wrap="square" rtlCol="0">
            <a:spAutoFit/>
          </a:bodyPr>
          <a:lstStyle/>
          <a:p>
            <a:pPr algn="ctr"/>
            <a:r>
              <a:rPr lang="fr-CA" sz="1800" b="1" i="0" strike="noStrike" cap="none" spc="0" baseline="0" dirty="0">
                <a:solidFill>
                  <a:srgbClr val="000000"/>
                </a:solidFill>
                <a:effectLst/>
                <a:latin typeface="Calibri"/>
                <a:ea typeface="Calibri"/>
                <a:cs typeface="Calibri"/>
              </a:rPr>
              <a:t>Contenu du cours</a:t>
            </a:r>
          </a:p>
          <a:p>
            <a:endParaRPr lang="en-GB" dirty="0"/>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Qu’est-ce que le harcèlement et la discrimination?</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Comprendre les terres protégées </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Harcèlement sexuel</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Quid Pro Quo/Environnement de travail hostile </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Discrimination</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Comportement inapproprié</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Intimidation en milieu de travail</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Repérer les comportements importuns</a:t>
            </a:r>
          </a:p>
          <a:p>
            <a:pPr marL="342900" indent="-342900">
              <a:buFont typeface="+mj-lt"/>
              <a:buAutoNum type="arabicPeriod"/>
            </a:pPr>
            <a:r>
              <a:rPr lang="fr-CA" sz="1800" b="0" i="0" strike="noStrike" cap="none" spc="0" baseline="0" dirty="0">
                <a:solidFill>
                  <a:srgbClr val="000000"/>
                </a:solidFill>
                <a:effectLst/>
                <a:latin typeface="Calibri"/>
                <a:ea typeface="Calibri"/>
                <a:cs typeface="Calibri"/>
              </a:rPr>
              <a:t>Signaler des préoccupations et des représailles</a:t>
            </a:r>
          </a:p>
          <a:p>
            <a:pPr marL="342900" indent="-342900">
              <a:buFont typeface="+mj-lt"/>
              <a:buAutoNum type="arabicPeriod"/>
            </a:pPr>
            <a:endParaRPr lang="en-GB" dirty="0"/>
          </a:p>
          <a:p>
            <a:r>
              <a:rPr lang="fr-CA" sz="1800" b="1" i="0" strike="noStrike" cap="none" spc="0" baseline="0" dirty="0">
                <a:solidFill>
                  <a:srgbClr val="000000"/>
                </a:solidFill>
                <a:effectLst/>
                <a:latin typeface="Calibri"/>
                <a:ea typeface="Calibri"/>
                <a:cs typeface="Calibri"/>
              </a:rPr>
              <a:t>Si vous avez des questions concernant la formation ou la façon dont les exigences locales spécifiques s’appliquent, parlez à votre gestionnaire, aux ressources humaines ou communiquez avec </a:t>
            </a:r>
            <a:r>
              <a:rPr lang="fr-CA" sz="1800" b="1" i="0" strike="noStrike" cap="none" spc="0" baseline="0" dirty="0">
                <a:solidFill>
                  <a:srgbClr val="008AFF"/>
                </a:solidFill>
                <a:effectLst/>
                <a:latin typeface="Calibri"/>
                <a:ea typeface="Calibri"/>
                <a:cs typeface="Calibri"/>
              </a:rPr>
              <a:t>compliance@rpminc.com</a:t>
            </a:r>
          </a:p>
          <a:p>
            <a:pPr marL="342900" indent="-342900">
              <a:buFont typeface="+mj-lt"/>
              <a:buAutoNum type="arabicPeriod"/>
            </a:pPr>
            <a:endParaRPr lang="en-GB" dirty="0"/>
          </a:p>
          <a:p>
            <a:pPr marL="342900" indent="-342900">
              <a:buFont typeface="+mj-lt"/>
              <a:buAutoNum type="arabicPeriod"/>
            </a:pPr>
            <a:endParaRPr lang="en-GB" dirty="0"/>
          </a:p>
        </p:txBody>
      </p:sp>
    </p:spTree>
    <p:extLst>
      <p:ext uri="{BB962C8B-B14F-4D97-AF65-F5344CB8AC3E}">
        <p14:creationId xmlns:p14="http://schemas.microsoft.com/office/powerpoint/2010/main" val="209789891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5DCA-792C-6FB9-BAC9-D3F76F7F9593}"/>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Conduite au travail – question à se poser</a:t>
            </a:r>
          </a:p>
        </p:txBody>
      </p:sp>
      <p:sp>
        <p:nvSpPr>
          <p:cNvPr id="5" name="Slide Number Placeholder 4">
            <a:extLst>
              <a:ext uri="{FF2B5EF4-FFF2-40B4-BE49-F238E27FC236}">
                <a16:creationId xmlns:a16="http://schemas.microsoft.com/office/drawing/2014/main" id="{D0BAD8F0-78CD-0417-D5E3-330EB5197738}"/>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20</a:t>
            </a:fld>
            <a:endParaRPr lang="en-US"/>
          </a:p>
        </p:txBody>
      </p:sp>
      <p:graphicFrame>
        <p:nvGraphicFramePr>
          <p:cNvPr id="18" name="TextBox 8">
            <a:extLst>
              <a:ext uri="{FF2B5EF4-FFF2-40B4-BE49-F238E27FC236}">
                <a16:creationId xmlns:a16="http://schemas.microsoft.com/office/drawing/2014/main" id="{F2583A9D-281C-4C52-9347-26153EBC053D}"/>
              </a:ext>
            </a:extLst>
          </p:cNvPr>
          <p:cNvGraphicFramePr/>
          <p:nvPr>
            <p:extLst>
              <p:ext uri="{D42A27DB-BD31-4B8C-83A1-F6EECF244321}">
                <p14:modId xmlns:p14="http://schemas.microsoft.com/office/powerpoint/2010/main" val="34123899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15830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1F89A-BFF8-A65E-BF48-AEE160C282E6}"/>
              </a:ext>
            </a:extLst>
          </p:cNvPr>
          <p:cNvSpPr>
            <a:spLocks noGrp="1"/>
          </p:cNvSpPr>
          <p:nvPr>
            <p:ph type="title"/>
          </p:nvPr>
        </p:nvSpPr>
        <p:spPr/>
        <p:txBody>
          <a:bodyPr/>
          <a:lstStyle/>
          <a:p>
            <a:r>
              <a:rPr lang="fr-CA" sz="2000" b="0" i="0" strike="noStrike" cap="none" spc="0" baseline="0">
                <a:solidFill>
                  <a:srgbClr val="FFFFFF"/>
                </a:solidFill>
                <a:effectLst/>
                <a:latin typeface="Calibri Light"/>
                <a:ea typeface="Calibri Light"/>
                <a:cs typeface="Calibri Light"/>
              </a:rPr>
              <a:t>Particulier - repérer les comportements importuns</a:t>
            </a:r>
          </a:p>
        </p:txBody>
      </p:sp>
      <p:sp>
        <p:nvSpPr>
          <p:cNvPr id="3" name="Content Placeholder 2">
            <a:extLst>
              <a:ext uri="{FF2B5EF4-FFF2-40B4-BE49-F238E27FC236}">
                <a16:creationId xmlns:a16="http://schemas.microsoft.com/office/drawing/2014/main" id="{EE3BD1DC-4EC2-EFA1-8D3E-8824C4794976}"/>
              </a:ext>
            </a:extLst>
          </p:cNvPr>
          <p:cNvSpPr>
            <a:spLocks noGrp="1"/>
          </p:cNvSpPr>
          <p:nvPr>
            <p:ph idx="1"/>
          </p:nvPr>
        </p:nvSpPr>
        <p:spPr/>
        <p:txBody>
          <a:bodyPr/>
          <a:lstStyle/>
          <a:p>
            <a:pPr marL="0" indent="0">
              <a:buNone/>
            </a:pPr>
            <a:r>
              <a:rPr lang="fr-CA" sz="1600" b="0" i="0" strike="noStrike" cap="none" spc="0" baseline="0">
                <a:solidFill>
                  <a:srgbClr val="000000"/>
                </a:solidFill>
                <a:effectLst/>
                <a:latin typeface="Calibri"/>
                <a:ea typeface="Calibri"/>
                <a:cs typeface="Calibri"/>
              </a:rPr>
              <a:t>Les signaux peuvent être verbaux et non verbaux</a:t>
            </a:r>
          </a:p>
          <a:p>
            <a:endParaRPr lang="en-GB"/>
          </a:p>
        </p:txBody>
      </p:sp>
      <p:sp>
        <p:nvSpPr>
          <p:cNvPr id="5" name="Slide Number Placeholder 4">
            <a:extLst>
              <a:ext uri="{FF2B5EF4-FFF2-40B4-BE49-F238E27FC236}">
                <a16:creationId xmlns:a16="http://schemas.microsoft.com/office/drawing/2014/main" id="{B77514DD-D440-21D7-095B-70FC70BAC091}"/>
              </a:ext>
            </a:extLst>
          </p:cNvPr>
          <p:cNvSpPr>
            <a:spLocks noGrp="1"/>
          </p:cNvSpPr>
          <p:nvPr>
            <p:ph type="sldNum" sz="quarter" idx="4"/>
          </p:nvPr>
        </p:nvSpPr>
        <p:spPr/>
        <p:txBody>
          <a:bodyPr/>
          <a:lstStyle/>
          <a:p>
            <a:fld id="{BB5FC4A1-A2DE-4EB5-9A46-57D39B4235EC}" type="slidenum">
              <a:rPr lang="en-US" smtClean="0"/>
              <a:t>21</a:t>
            </a:fld>
            <a:endParaRPr lang="en-US"/>
          </a:p>
        </p:txBody>
      </p:sp>
      <p:graphicFrame>
        <p:nvGraphicFramePr>
          <p:cNvPr id="4" name="Diagram 3">
            <a:extLst>
              <a:ext uri="{FF2B5EF4-FFF2-40B4-BE49-F238E27FC236}">
                <a16:creationId xmlns:a16="http://schemas.microsoft.com/office/drawing/2014/main" id="{B3FD9947-2372-778F-84F0-D2FAEFF1D8DE}"/>
              </a:ext>
            </a:extLst>
          </p:cNvPr>
          <p:cNvGraphicFramePr/>
          <p:nvPr>
            <p:extLst>
              <p:ext uri="{D42A27DB-BD31-4B8C-83A1-F6EECF244321}">
                <p14:modId xmlns:p14="http://schemas.microsoft.com/office/powerpoint/2010/main" val="693162674"/>
              </p:ext>
            </p:extLst>
          </p:nvPr>
        </p:nvGraphicFramePr>
        <p:xfrm>
          <a:off x="822960" y="212703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3722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0F103-B53A-E0D6-FC92-E87A68ECFBBC}"/>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Que faire si vous constatez un comportement inapproprié</a:t>
            </a:r>
          </a:p>
        </p:txBody>
      </p:sp>
      <p:sp>
        <p:nvSpPr>
          <p:cNvPr id="14" name="TextBox 13">
            <a:extLst>
              <a:ext uri="{FF2B5EF4-FFF2-40B4-BE49-F238E27FC236}">
                <a16:creationId xmlns:a16="http://schemas.microsoft.com/office/drawing/2014/main" id="{A1FFE694-DF65-A7CA-A6CD-EE2D7965DCCB}"/>
              </a:ext>
            </a:extLst>
          </p:cNvPr>
          <p:cNvSpPr txBox="1"/>
          <p:nvPr/>
        </p:nvSpPr>
        <p:spPr>
          <a:xfrm>
            <a:off x="4857750" y="1280160"/>
            <a:ext cx="3886200" cy="5135424"/>
          </a:xfrm>
          <a:prstGeom prst="rect">
            <a:avLst/>
          </a:prstGeom>
        </p:spPr>
        <p:txBody>
          <a:bodyPr vert="horz" lIns="91440" tIns="45720" rIns="91440" bIns="45720" rtlCol="0" anchor="ctr">
            <a:normAutofit/>
          </a:bodyPr>
          <a:lstStyle/>
          <a:p>
            <a:pPr defTabSz="685749">
              <a:lnSpc>
                <a:spcPct val="90000"/>
              </a:lnSpc>
              <a:spcBef>
                <a:spcPts val="750"/>
              </a:spcBef>
            </a:pPr>
            <a:r>
              <a:rPr lang="fr-CA" sz="2100" b="0" i="0" strike="noStrike" cap="none" spc="0" baseline="0">
                <a:solidFill>
                  <a:srgbClr val="000000"/>
                </a:solidFill>
                <a:effectLst/>
                <a:latin typeface="Calibri"/>
                <a:ea typeface="Calibri"/>
                <a:cs typeface="Calibri"/>
              </a:rPr>
              <a:t>Après avoir reçu une plainte, RPM mènera une enquête rapide, approfondie et impartiale, et prendra les mesures correctives immédiates et appropriées, le cas échéant. </a:t>
            </a:r>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fr-CA" sz="2100" b="0" i="0" strike="noStrike" cap="none" spc="0" baseline="0">
                <a:solidFill>
                  <a:srgbClr val="000000"/>
                </a:solidFill>
                <a:effectLst/>
                <a:latin typeface="Calibri"/>
                <a:ea typeface="Calibri"/>
                <a:cs typeface="Calibri"/>
              </a:rPr>
              <a:t>Dans certains endroits, les personnes qui enfreignent les lois peuvent faire l’objet de sanctions civiles et pénales</a:t>
            </a:r>
          </a:p>
        </p:txBody>
      </p:sp>
      <p:sp>
        <p:nvSpPr>
          <p:cNvPr id="5" name="Slide Number Placeholder 4" hidden="1">
            <a:extLst>
              <a:ext uri="{FF2B5EF4-FFF2-40B4-BE49-F238E27FC236}">
                <a16:creationId xmlns:a16="http://schemas.microsoft.com/office/drawing/2014/main" id="{CAC6A289-2555-7CE5-76F6-FCBF4B2E0BAB}"/>
              </a:ext>
            </a:extLst>
          </p:cNvPr>
          <p:cNvSpPr>
            <a:spLocks noGrp="1"/>
          </p:cNvSpPr>
          <p:nvPr>
            <p:ph type="sldNum" sz="quarter" idx="4294967295"/>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2</a:t>
            </a:fld>
            <a:endParaRPr lang="en-US"/>
          </a:p>
        </p:txBody>
      </p:sp>
      <p:graphicFrame>
        <p:nvGraphicFramePr>
          <p:cNvPr id="9" name="Content Placeholder 2">
            <a:extLst>
              <a:ext uri="{FF2B5EF4-FFF2-40B4-BE49-F238E27FC236}">
                <a16:creationId xmlns:a16="http://schemas.microsoft.com/office/drawing/2014/main" id="{35D2C2CD-0245-DEC8-473D-8517566B1470}"/>
              </a:ext>
            </a:extLst>
          </p:cNvPr>
          <p:cNvGraphicFramePr>
            <a:graphicFrameLocks noGrp="1"/>
          </p:cNvGraphicFramePr>
          <p:nvPr>
            <p:ph sz="half" idx="1"/>
            <p:extLst>
              <p:ext uri="{D42A27DB-BD31-4B8C-83A1-F6EECF244321}">
                <p14:modId xmlns:p14="http://schemas.microsoft.com/office/powerpoint/2010/main" val="1178588699"/>
              </p:ext>
            </p:extLst>
          </p:nvPr>
        </p:nvGraphicFramePr>
        <p:xfrm>
          <a:off x="6286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125158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B6B62-796B-C1D4-4763-5A20739A7519}"/>
              </a:ext>
            </a:extLst>
          </p:cNvPr>
          <p:cNvSpPr>
            <a:spLocks noGrp="1"/>
          </p:cNvSpPr>
          <p:nvPr>
            <p:ph type="title"/>
          </p:nvPr>
        </p:nvSpPr>
        <p:spPr>
          <a:xfrm>
            <a:off x="822959" y="182880"/>
            <a:ext cx="7381415" cy="729882"/>
          </a:xfrm>
        </p:spPr>
        <p:txBody>
          <a:bodyPr anchor="ctr">
            <a:normAutofit/>
          </a:bodyPr>
          <a:lstStyle/>
          <a:p>
            <a:r>
              <a:rPr lang="fr-CA" sz="2000" b="0" i="0" strike="noStrike" cap="none" spc="0" baseline="0">
                <a:solidFill>
                  <a:srgbClr val="FFFFFF"/>
                </a:solidFill>
                <a:effectLst/>
                <a:latin typeface="Calibri Light"/>
                <a:ea typeface="Calibri Light"/>
                <a:cs typeface="Calibri Light"/>
              </a:rPr>
              <a:t>Politique de non-représailles de RPM </a:t>
            </a:r>
          </a:p>
        </p:txBody>
      </p:sp>
      <p:sp>
        <p:nvSpPr>
          <p:cNvPr id="11" name="Content Placeholder 2">
            <a:extLst>
              <a:ext uri="{FF2B5EF4-FFF2-40B4-BE49-F238E27FC236}">
                <a16:creationId xmlns:a16="http://schemas.microsoft.com/office/drawing/2014/main" id="{6C1BA9E3-9396-DBB5-8249-DC0FDEC133B2}"/>
              </a:ext>
            </a:extLst>
          </p:cNvPr>
          <p:cNvSpPr>
            <a:spLocks noGrp="1"/>
          </p:cNvSpPr>
          <p:nvPr>
            <p:ph sz="half" idx="1"/>
          </p:nvPr>
        </p:nvSpPr>
        <p:spPr>
          <a:xfrm>
            <a:off x="628650" y="1508760"/>
            <a:ext cx="3886200" cy="5135424"/>
          </a:xfrm>
        </p:spPr>
        <p:txBody>
          <a:bodyPr>
            <a:normAutofit fontScale="90000"/>
          </a:bodyPr>
          <a:lstStyle/>
          <a:p>
            <a:pPr marL="0" indent="0">
              <a:buNone/>
            </a:pPr>
            <a:r>
              <a:rPr lang="fr-CA" sz="1600" b="1" i="0" strike="noStrike" cap="none" spc="0" baseline="0">
                <a:solidFill>
                  <a:srgbClr val="000000"/>
                </a:solidFill>
                <a:effectLst/>
                <a:latin typeface="Calibri"/>
                <a:ea typeface="Calibri"/>
                <a:cs typeface="Calibri"/>
              </a:rPr>
              <a:t>Si vous avez une préoccupation ou si quelque chose ne vous semble pas correct, parlez-en.</a:t>
            </a:r>
          </a:p>
          <a:p>
            <a:r>
              <a:rPr lang="fr-CA" sz="1600" b="0" i="0" strike="noStrike" cap="none" spc="0" baseline="0">
                <a:solidFill>
                  <a:srgbClr val="373535"/>
                </a:solidFill>
                <a:effectLst/>
                <a:latin typeface="Calibri"/>
                <a:ea typeface="Calibri"/>
                <a:cs typeface="Calibri"/>
              </a:rPr>
              <a:t>Vous pouvez signaler votre préoccupation à votre gestionnaire, aux RH, au service juridique et de la conformité ou par l’entremise de la ligne d’assistance RPM.</a:t>
            </a:r>
          </a:p>
          <a:p>
            <a:endParaRPr lang="en-US" sz="1600">
              <a:solidFill>
                <a:srgbClr val="373535"/>
              </a:solidFill>
            </a:endParaRPr>
          </a:p>
          <a:p>
            <a:r>
              <a:rPr lang="fr-CA" sz="1600" b="0" i="0" strike="noStrike" cap="none" spc="0" baseline="0">
                <a:solidFill>
                  <a:srgbClr val="373535"/>
                </a:solidFill>
                <a:effectLst/>
                <a:latin typeface="Calibri"/>
                <a:ea typeface="Calibri"/>
                <a:cs typeface="Calibri"/>
              </a:rPr>
              <a:t>Tous les rapports de bonne foi sont pris au sérieux et examinés attentivement. Les signalements de toute violation de la loi, de nos valeurs et attentes de 168 ou de tout comportement contraire à l’éthique feront l’objet d’une enquête rapide et appropriée.</a:t>
            </a:r>
          </a:p>
          <a:p>
            <a:endParaRPr lang="en-US" sz="1600"/>
          </a:p>
          <a:p>
            <a:pPr marL="0" marR="0" lvl="0" indent="0">
              <a:lnSpc>
                <a:spcPct val="107000"/>
              </a:lnSpc>
              <a:spcBef>
                <a:spcPct val="0"/>
              </a:spcBef>
              <a:spcAft>
                <a:spcPct val="0"/>
              </a:spcAft>
              <a:buNone/>
            </a:pPr>
            <a:r>
              <a:rPr lang="fr-CA" sz="1600" b="0" i="0" strike="noStrike" cap="none" spc="0" baseline="0">
                <a:solidFill>
                  <a:srgbClr val="000000"/>
                </a:solidFill>
                <a:effectLst/>
                <a:latin typeface="Calibri"/>
                <a:ea typeface="Calibri"/>
                <a:cs typeface="Calibri"/>
              </a:rPr>
              <a:t>Si vous signalez une inconduite et que vous la signalez de bonne foi, la politique de représailles de RPM vous interdit d’être congédié, rétrogradé, suspendu, réprimandé, sanctionné, transféré, menacé, harcelé ou victime de discrimination de quelque manière que ce soit pour avoir soulevé vos préoccupations. </a:t>
            </a:r>
          </a:p>
          <a:p>
            <a:pPr marL="57162" marR="0" indent="0">
              <a:lnSpc>
                <a:spcPct val="107000"/>
              </a:lnSpc>
              <a:spcBef>
                <a:spcPct val="0"/>
              </a:spcBef>
              <a:spcAft>
                <a:spcPts val="800"/>
              </a:spcAft>
              <a:buNone/>
            </a:pPr>
            <a:endParaRPr lang="en-US" sz="1700" kern="100">
              <a:effectLst/>
              <a:ea typeface="Calibri" panose="020F0502020204030204" pitchFamily="34" charset="0"/>
              <a:cs typeface="Times New Roman" panose="02020603050405020304" pitchFamily="18" charset="0"/>
            </a:endParaRPr>
          </a:p>
          <a:p>
            <a:endParaRPr lang="en-US"/>
          </a:p>
        </p:txBody>
      </p:sp>
      <p:pic>
        <p:nvPicPr>
          <p:cNvPr id="6" name="Content Placeholder 5" descr="A poster of a company&#10;&#10;Description automatically generated">
            <a:extLst>
              <a:ext uri="{FF2B5EF4-FFF2-40B4-BE49-F238E27FC236}">
                <a16:creationId xmlns:a16="http://schemas.microsoft.com/office/drawing/2014/main" id="{486A5F75-0C93-46BB-29E1-EEFA342C3D92}"/>
              </a:ext>
            </a:extLst>
          </p:cNvPr>
          <p:cNvPicPr>
            <a:picLocks noGrp="1" noChangeAspect="1"/>
          </p:cNvPicPr>
          <p:nvPr>
            <p:ph sz="half" idx="2"/>
          </p:nvPr>
        </p:nvPicPr>
        <p:blipFill>
          <a:blip r:embed="rId2"/>
          <a:stretch>
            <a:fillRect/>
          </a:stretch>
        </p:blipFill>
        <p:spPr>
          <a:xfrm>
            <a:off x="4629150" y="1511323"/>
            <a:ext cx="3886200" cy="5130297"/>
          </a:xfrm>
          <a:noFill/>
        </p:spPr>
      </p:pic>
    </p:spTree>
    <p:extLst>
      <p:ext uri="{BB962C8B-B14F-4D97-AF65-F5344CB8AC3E}">
        <p14:creationId xmlns:p14="http://schemas.microsoft.com/office/powerpoint/2010/main" val="35342792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A7B45-5B3C-3DB0-1BE4-A2E8E5DFB955}"/>
              </a:ext>
            </a:extLst>
          </p:cNvPr>
          <p:cNvSpPr>
            <a:spLocks noGrp="1"/>
          </p:cNvSpPr>
          <p:nvPr>
            <p:ph type="title"/>
          </p:nvPr>
        </p:nvSpPr>
        <p:spPr>
          <a:xfrm>
            <a:off x="822960" y="182880"/>
            <a:ext cx="7358907" cy="787032"/>
          </a:xfrm>
        </p:spPr>
        <p:txBody>
          <a:bodyPr anchor="ctr">
            <a:normAutofit/>
          </a:bodyPr>
          <a:lstStyle/>
          <a:p>
            <a:r>
              <a:rPr lang="fr-CA" sz="2000" b="0" i="0" strike="noStrike" cap="none" spc="0" baseline="0">
                <a:solidFill>
                  <a:srgbClr val="FFFFFF"/>
                </a:solidFill>
                <a:effectLst/>
                <a:latin typeface="Calibri Light"/>
                <a:ea typeface="Calibri Light"/>
                <a:cs typeface="Calibri Light"/>
              </a:rPr>
              <a:t>Représailles </a:t>
            </a:r>
          </a:p>
        </p:txBody>
      </p:sp>
      <p:sp>
        <p:nvSpPr>
          <p:cNvPr id="5" name="Slide Number Placeholder 4">
            <a:extLst>
              <a:ext uri="{FF2B5EF4-FFF2-40B4-BE49-F238E27FC236}">
                <a16:creationId xmlns:a16="http://schemas.microsoft.com/office/drawing/2014/main" id="{0481DFAF-2C91-7422-79F7-D1B6D66C8A2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4</a:t>
            </a:fld>
            <a:endParaRPr lang="en-US"/>
          </a:p>
        </p:txBody>
      </p:sp>
      <p:graphicFrame>
        <p:nvGraphicFramePr>
          <p:cNvPr id="8" name="Content Placeholder 2">
            <a:extLst>
              <a:ext uri="{FF2B5EF4-FFF2-40B4-BE49-F238E27FC236}">
                <a16:creationId xmlns:a16="http://schemas.microsoft.com/office/drawing/2014/main" id="{A78DC15E-F928-C464-FBA0-36933CA4DB49}"/>
              </a:ext>
            </a:extLst>
          </p:cNvPr>
          <p:cNvGraphicFramePr>
            <a:graphicFrameLocks noGrp="1"/>
          </p:cNvGraphicFramePr>
          <p:nvPr>
            <p:ph idx="1"/>
            <p:extLst>
              <p:ext uri="{D42A27DB-BD31-4B8C-83A1-F6EECF244321}">
                <p14:modId xmlns:p14="http://schemas.microsoft.com/office/powerpoint/2010/main" val="1905503871"/>
              </p:ext>
            </p:extLst>
          </p:nvPr>
        </p:nvGraphicFramePr>
        <p:xfrm>
          <a:off x="432562" y="2160606"/>
          <a:ext cx="8074836" cy="439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98B0EE6-D2E3-A34A-D0E6-B7CFF8ADAFCF}"/>
              </a:ext>
            </a:extLst>
          </p:cNvPr>
          <p:cNvSpPr txBox="1"/>
          <p:nvPr/>
        </p:nvSpPr>
        <p:spPr>
          <a:xfrm>
            <a:off x="432562" y="1470164"/>
            <a:ext cx="6995604" cy="365760"/>
          </a:xfrm>
          <a:prstGeom prst="rect">
            <a:avLst/>
          </a:prstGeom>
          <a:noFill/>
        </p:spPr>
        <p:txBody>
          <a:bodyPr wrap="square" rtlCol="0">
            <a:spAutoFit/>
          </a:bodyPr>
          <a:lstStyle/>
          <a:p>
            <a:r>
              <a:rPr lang="fr-CA" sz="1800" b="0" i="0" strike="noStrike" cap="none" spc="0" baseline="0">
                <a:solidFill>
                  <a:srgbClr val="000000"/>
                </a:solidFill>
                <a:effectLst/>
                <a:latin typeface="Calibri"/>
                <a:ea typeface="Calibri"/>
                <a:cs typeface="Calibri"/>
              </a:rPr>
              <a:t>Exemples de représailles :</a:t>
            </a:r>
          </a:p>
        </p:txBody>
      </p:sp>
    </p:spTree>
    <p:extLst>
      <p:ext uri="{BB962C8B-B14F-4D97-AF65-F5344CB8AC3E}">
        <p14:creationId xmlns:p14="http://schemas.microsoft.com/office/powerpoint/2010/main" val="311459053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00DF9-EC86-26D1-EB48-FAC8A23DB652}"/>
              </a:ext>
            </a:extLst>
          </p:cNvPr>
          <p:cNvSpPr>
            <a:spLocks noGrp="1"/>
          </p:cNvSpPr>
          <p:nvPr>
            <p:ph type="ctrTitle"/>
          </p:nvPr>
        </p:nvSpPr>
        <p:spPr>
          <a:xfrm>
            <a:off x="1143000" y="1122363"/>
            <a:ext cx="6858000" cy="2387600"/>
          </a:xfrm>
        </p:spPr>
        <p:txBody>
          <a:bodyPr anchor="b">
            <a:normAutofit/>
          </a:bodyPr>
          <a:lstStyle/>
          <a:p>
            <a:r>
              <a:rPr lang="fr-CA" sz="4500" b="0" i="0" strike="noStrike" cap="none" spc="0" baseline="0">
                <a:solidFill>
                  <a:srgbClr val="000000"/>
                </a:solidFill>
                <a:effectLst/>
                <a:latin typeface="Calibri Light"/>
                <a:ea typeface="Calibri Light"/>
                <a:cs typeface="Calibri Light"/>
              </a:rPr>
              <a:t>Vrai ou faux?</a:t>
            </a:r>
          </a:p>
        </p:txBody>
      </p:sp>
      <p:sp>
        <p:nvSpPr>
          <p:cNvPr id="3" name="Content Placeholder 2">
            <a:extLst>
              <a:ext uri="{FF2B5EF4-FFF2-40B4-BE49-F238E27FC236}">
                <a16:creationId xmlns:a16="http://schemas.microsoft.com/office/drawing/2014/main" id="{D6504A50-C316-495F-A22D-CFF6B8954D8D}"/>
              </a:ext>
            </a:extLst>
          </p:cNvPr>
          <p:cNvSpPr>
            <a:spLocks noGrp="1"/>
          </p:cNvSpPr>
          <p:nvPr>
            <p:ph type="subTitle" idx="1"/>
          </p:nvPr>
        </p:nvSpPr>
        <p:spPr>
          <a:xfrm>
            <a:off x="1143000" y="3602038"/>
            <a:ext cx="6858000" cy="1655762"/>
          </a:xfrm>
        </p:spPr>
        <p:txBody>
          <a:bodyPr>
            <a:normAutofit/>
          </a:bodyPr>
          <a:lstStyle/>
          <a:p>
            <a:pPr marL="0" indent="0">
              <a:buNone/>
            </a:pPr>
            <a:r>
              <a:rPr lang="fr-CA" sz="1800" b="0" i="0" strike="noStrike" cap="none" spc="0" baseline="0">
                <a:solidFill>
                  <a:srgbClr val="000000"/>
                </a:solidFill>
                <a:effectLst/>
                <a:latin typeface="Calibri"/>
                <a:ea typeface="Calibri"/>
                <a:cs typeface="Calibri"/>
              </a:rPr>
              <a:t>En plus des gestionnaires, les collègues peuvent se livrer à des représailles interdites. </a:t>
            </a:r>
          </a:p>
        </p:txBody>
      </p:sp>
      <p:sp>
        <p:nvSpPr>
          <p:cNvPr id="4" name="Date Placeholder 3" hidden="1">
            <a:extLst>
              <a:ext uri="{FF2B5EF4-FFF2-40B4-BE49-F238E27FC236}">
                <a16:creationId xmlns:a16="http://schemas.microsoft.com/office/drawing/2014/main" id="{11DF32BB-A75F-A819-0F62-EAD6E91DC806}"/>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ECA4A55-F7A7-46D2-6885-64D7C77172C8}"/>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5</a:t>
            </a:fld>
            <a:endParaRPr lang="en-US"/>
          </a:p>
        </p:txBody>
      </p:sp>
    </p:spTree>
    <p:extLst>
      <p:ext uri="{BB962C8B-B14F-4D97-AF65-F5344CB8AC3E}">
        <p14:creationId xmlns:p14="http://schemas.microsoft.com/office/powerpoint/2010/main" val="89492897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93E8-D982-EE5F-722D-C8FFD4B1FB5E}"/>
              </a:ext>
            </a:extLst>
          </p:cNvPr>
          <p:cNvSpPr>
            <a:spLocks noGrp="1"/>
          </p:cNvSpPr>
          <p:nvPr>
            <p:ph type="ctrTitle"/>
          </p:nvPr>
        </p:nvSpPr>
        <p:spPr>
          <a:xfrm>
            <a:off x="1143000" y="1122363"/>
            <a:ext cx="6858000" cy="2387600"/>
          </a:xfrm>
        </p:spPr>
        <p:txBody>
          <a:bodyPr anchor="b">
            <a:normAutofit/>
          </a:bodyPr>
          <a:lstStyle/>
          <a:p>
            <a:r>
              <a:rPr lang="fr-CA" sz="4500" b="0" i="0" strike="noStrike" cap="none" spc="0" baseline="0">
                <a:solidFill>
                  <a:srgbClr val="000000"/>
                </a:solidFill>
                <a:effectLst/>
                <a:latin typeface="Calibri Light"/>
                <a:ea typeface="Calibri Light"/>
                <a:cs typeface="Calibri Light"/>
              </a:rPr>
              <a:t>Réponse...</a:t>
            </a:r>
          </a:p>
        </p:txBody>
      </p:sp>
      <p:sp>
        <p:nvSpPr>
          <p:cNvPr id="3" name="Content Placeholder 2">
            <a:extLst>
              <a:ext uri="{FF2B5EF4-FFF2-40B4-BE49-F238E27FC236}">
                <a16:creationId xmlns:a16="http://schemas.microsoft.com/office/drawing/2014/main" id="{2A8CED9B-3AA4-6657-52D7-A3AE595B4F07}"/>
              </a:ext>
            </a:extLst>
          </p:cNvPr>
          <p:cNvSpPr>
            <a:spLocks noGrp="1"/>
          </p:cNvSpPr>
          <p:nvPr>
            <p:ph type="subTitle" idx="1"/>
          </p:nvPr>
        </p:nvSpPr>
        <p:spPr>
          <a:xfrm>
            <a:off x="1143000" y="3602038"/>
            <a:ext cx="6858000" cy="1655762"/>
          </a:xfrm>
        </p:spPr>
        <p:txBody>
          <a:bodyPr>
            <a:normAutofit/>
          </a:bodyPr>
          <a:lstStyle/>
          <a:p>
            <a:pPr marL="0" indent="0">
              <a:buNone/>
            </a:pPr>
            <a:r>
              <a:rPr lang="fr-CA" sz="1800" b="0" i="0" strike="noStrike" cap="none" spc="0" baseline="0">
                <a:solidFill>
                  <a:srgbClr val="000000"/>
                </a:solidFill>
                <a:effectLst/>
                <a:latin typeface="Calibri"/>
                <a:ea typeface="Calibri"/>
                <a:cs typeface="Calibri"/>
              </a:rPr>
              <a:t>L’énoncé ci-dessus est </a:t>
            </a:r>
            <a:r>
              <a:rPr lang="fr-CA" sz="1800" b="1" i="0" strike="noStrike" cap="none" spc="0" baseline="0">
                <a:solidFill>
                  <a:srgbClr val="548235"/>
                </a:solidFill>
                <a:effectLst/>
                <a:latin typeface="Calibri"/>
                <a:ea typeface="Calibri"/>
                <a:cs typeface="Calibri"/>
              </a:rPr>
              <a:t>vrai</a:t>
            </a:r>
            <a:r>
              <a:rPr lang="fr-CA" sz="1800" b="0" i="0" strike="noStrike" cap="none" spc="0" baseline="0">
                <a:solidFill>
                  <a:srgbClr val="000000"/>
                </a:solidFill>
                <a:effectLst/>
                <a:latin typeface="Calibri"/>
                <a:ea typeface="Calibri"/>
                <a:cs typeface="Calibri"/>
              </a:rPr>
              <a:t>.</a:t>
            </a:r>
          </a:p>
          <a:p>
            <a:pPr marL="0" indent="0">
              <a:buNone/>
            </a:pPr>
            <a:r>
              <a:rPr lang="fr-CA" sz="1800" b="0" i="0" strike="noStrike" cap="none" spc="0" baseline="0">
                <a:solidFill>
                  <a:srgbClr val="000000"/>
                </a:solidFill>
                <a:effectLst/>
                <a:latin typeface="Calibri"/>
                <a:ea typeface="Calibri"/>
                <a:cs typeface="Calibri"/>
              </a:rPr>
              <a:t>N’importe qui peut se livrer à des représailles. Cela comprend tout gestionnaire ou collègue qui traite quelqu’un négativement parce qu’il a soulevé une préoccupation ou une plainte de bonne foi. </a:t>
            </a:r>
          </a:p>
        </p:txBody>
      </p:sp>
      <p:sp>
        <p:nvSpPr>
          <p:cNvPr id="4" name="Date Placeholder 3" hidden="1">
            <a:extLst>
              <a:ext uri="{FF2B5EF4-FFF2-40B4-BE49-F238E27FC236}">
                <a16:creationId xmlns:a16="http://schemas.microsoft.com/office/drawing/2014/main" id="{8B475D77-4434-8297-1245-1F15891FDD8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A324A152-4068-BF32-861E-706313346D3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6</a:t>
            </a:fld>
            <a:endParaRPr lang="en-US"/>
          </a:p>
        </p:txBody>
      </p:sp>
    </p:spTree>
    <p:extLst>
      <p:ext uri="{BB962C8B-B14F-4D97-AF65-F5344CB8AC3E}">
        <p14:creationId xmlns:p14="http://schemas.microsoft.com/office/powerpoint/2010/main" val="37902151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E09D-6897-4B77-6400-D2F29ADC89B9}"/>
              </a:ext>
            </a:extLst>
          </p:cNvPr>
          <p:cNvSpPr>
            <a:spLocks noGrp="1"/>
          </p:cNvSpPr>
          <p:nvPr>
            <p:ph type="title"/>
          </p:nvPr>
        </p:nvSpPr>
        <p:spPr/>
        <p:txBody>
          <a:bodyPr/>
          <a:lstStyle/>
          <a:p>
            <a:r>
              <a:rPr lang="fr-CA" sz="2100" b="0" i="0" strike="noStrike" cap="none" spc="0" baseline="0">
                <a:solidFill>
                  <a:srgbClr val="FFFFFF"/>
                </a:solidFill>
                <a:effectLst/>
                <a:latin typeface="Calibri Light"/>
                <a:ea typeface="Calibri Light"/>
                <a:cs typeface="Calibri Light"/>
              </a:rPr>
              <a:t>Merci </a:t>
            </a:r>
          </a:p>
        </p:txBody>
      </p:sp>
      <p:sp>
        <p:nvSpPr>
          <p:cNvPr id="3" name="Text Placeholder 2">
            <a:extLst>
              <a:ext uri="{FF2B5EF4-FFF2-40B4-BE49-F238E27FC236}">
                <a16:creationId xmlns:a16="http://schemas.microsoft.com/office/drawing/2014/main" id="{0D6490DC-2417-7F40-0F75-FE51C0D8A7AA}"/>
              </a:ext>
            </a:extLst>
          </p:cNvPr>
          <p:cNvSpPr>
            <a:spLocks noGrp="1"/>
          </p:cNvSpPr>
          <p:nvPr>
            <p:ph type="body" idx="1"/>
          </p:nvPr>
        </p:nvSpPr>
        <p:spPr/>
        <p:txBody>
          <a:bodyPr/>
          <a:lstStyle/>
          <a:p>
            <a:r>
              <a:rPr lang="fr-CA" sz="1900" b="0" i="0" strike="noStrike" cap="none" spc="0" baseline="0">
                <a:solidFill>
                  <a:srgbClr val="9DC3E6"/>
                </a:solidFill>
                <a:effectLst/>
                <a:latin typeface="Calibri"/>
                <a:ea typeface="Calibri"/>
                <a:cs typeface="Calibri"/>
              </a:rPr>
              <a:t>Toute question</a:t>
            </a:r>
          </a:p>
        </p:txBody>
      </p:sp>
      <p:sp>
        <p:nvSpPr>
          <p:cNvPr id="4" name="Date Placeholder 3">
            <a:extLst>
              <a:ext uri="{FF2B5EF4-FFF2-40B4-BE49-F238E27FC236}">
                <a16:creationId xmlns:a16="http://schemas.microsoft.com/office/drawing/2014/main" id="{60BFC064-E450-DFF8-1DE8-AA171D254DE2}"/>
              </a:ext>
            </a:extLst>
          </p:cNvPr>
          <p:cNvSpPr>
            <a:spLocks noGrp="1"/>
          </p:cNvSpPr>
          <p:nvPr>
            <p:ph type="dt" sz="half" idx="2"/>
          </p:nvPr>
        </p:nvSpPr>
        <p:spPr/>
        <p:txBody>
          <a:bodyPr/>
          <a:lstStyle/>
          <a:p>
            <a:r>
              <a:rPr lang="fr-CA" sz="900" b="0" i="0" strike="noStrike" cap="none" spc="0" baseline="0">
                <a:solidFill>
                  <a:srgbClr val="898989"/>
                </a:solidFill>
                <a:effectLst/>
                <a:latin typeface="Calibri"/>
                <a:ea typeface="Calibri"/>
                <a:cs typeface="Calibri"/>
              </a:rPr>
              <a:t>[NOM DE L’ÉVÉNEMENT] [DATE]</a:t>
            </a:r>
          </a:p>
        </p:txBody>
      </p:sp>
      <p:sp>
        <p:nvSpPr>
          <p:cNvPr id="5" name="Slide Number Placeholder 4">
            <a:extLst>
              <a:ext uri="{FF2B5EF4-FFF2-40B4-BE49-F238E27FC236}">
                <a16:creationId xmlns:a16="http://schemas.microsoft.com/office/drawing/2014/main" id="{9DE5CE9B-CFAD-F960-4423-47EF2ED4DC71}"/>
              </a:ext>
            </a:extLst>
          </p:cNvPr>
          <p:cNvSpPr>
            <a:spLocks noGrp="1"/>
          </p:cNvSpPr>
          <p:nvPr>
            <p:ph type="sldNum" sz="quarter" idx="4"/>
          </p:nvPr>
        </p:nvSpPr>
        <p:spPr/>
        <p:txBody>
          <a:bodyPr/>
          <a:lstStyle/>
          <a:p>
            <a:fld id="{BB5FC4A1-A2DE-4EB5-9A46-57D39B4235EC}" type="slidenum">
              <a:rPr lang="en-US" smtClean="0"/>
              <a:t>27</a:t>
            </a:fld>
            <a:endParaRPr lang="en-US"/>
          </a:p>
        </p:txBody>
      </p:sp>
    </p:spTree>
    <p:extLst>
      <p:ext uri="{BB962C8B-B14F-4D97-AF65-F5344CB8AC3E}">
        <p14:creationId xmlns:p14="http://schemas.microsoft.com/office/powerpoint/2010/main" val="39128464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4DD6-51D1-771A-AD6D-9F880AB718EF}"/>
              </a:ext>
            </a:extLst>
          </p:cNvPr>
          <p:cNvSpPr>
            <a:spLocks noGrp="1"/>
          </p:cNvSpPr>
          <p:nvPr>
            <p:ph type="title"/>
          </p:nvPr>
        </p:nvSpPr>
        <p:spPr>
          <a:xfrm>
            <a:off x="822960" y="182880"/>
            <a:ext cx="7358907" cy="787032"/>
          </a:xfrm>
        </p:spPr>
        <p:txBody>
          <a:bodyPr anchor="ctr">
            <a:normAutofit/>
          </a:bodyPr>
          <a:lstStyle/>
          <a:p>
            <a:r>
              <a:rPr lang="fr-CA" sz="2000" b="0" i="0" strike="noStrike" cap="none" spc="0" baseline="0">
                <a:solidFill>
                  <a:srgbClr val="FFFFFF"/>
                </a:solidFill>
                <a:effectLst/>
                <a:latin typeface="Calibri Light"/>
                <a:ea typeface="Calibri Light"/>
                <a:cs typeface="Calibri Light"/>
              </a:rPr>
              <a:t>Prévention de la discrimination et du harcèlement</a:t>
            </a:r>
          </a:p>
        </p:txBody>
      </p:sp>
      <p:sp>
        <p:nvSpPr>
          <p:cNvPr id="5" name="Slide Number Placeholder 4">
            <a:extLst>
              <a:ext uri="{FF2B5EF4-FFF2-40B4-BE49-F238E27FC236}">
                <a16:creationId xmlns:a16="http://schemas.microsoft.com/office/drawing/2014/main" id="{400A5B44-1D6A-1552-FB9B-24626E626C3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3</a:t>
            </a:fld>
            <a:endParaRPr lang="en-US"/>
          </a:p>
        </p:txBody>
      </p:sp>
      <p:graphicFrame>
        <p:nvGraphicFramePr>
          <p:cNvPr id="7" name="Content Placeholder 2">
            <a:extLst>
              <a:ext uri="{FF2B5EF4-FFF2-40B4-BE49-F238E27FC236}">
                <a16:creationId xmlns:a16="http://schemas.microsoft.com/office/drawing/2014/main" id="{D59D3B30-F695-4079-1707-50E90A4119B3}"/>
              </a:ext>
            </a:extLst>
          </p:cNvPr>
          <p:cNvGraphicFramePr>
            <a:graphicFrameLocks noGrp="1"/>
          </p:cNvGraphicFramePr>
          <p:nvPr>
            <p:ph idx="1"/>
            <p:extLst>
              <p:ext uri="{D42A27DB-BD31-4B8C-83A1-F6EECF244321}">
                <p14:modId xmlns:p14="http://schemas.microsoft.com/office/powerpoint/2010/main" val="162124371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78898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1B3-2675-F520-80FE-B41A6F28C679}"/>
              </a:ext>
            </a:extLst>
          </p:cNvPr>
          <p:cNvSpPr>
            <a:spLocks noGrp="1"/>
          </p:cNvSpPr>
          <p:nvPr>
            <p:ph type="title"/>
          </p:nvPr>
        </p:nvSpPr>
        <p:spPr>
          <a:xfrm>
            <a:off x="822960" y="182880"/>
            <a:ext cx="7358907" cy="787032"/>
          </a:xfrm>
        </p:spPr>
        <p:txBody>
          <a:bodyPr anchor="ctr">
            <a:normAutofit/>
          </a:bodyPr>
          <a:lstStyle/>
          <a:p>
            <a:r>
              <a:rPr lang="fr-CA" sz="2000" b="0" i="0" strike="noStrike" cap="none" spc="0" baseline="0">
                <a:solidFill>
                  <a:srgbClr val="FFFFFF"/>
                </a:solidFill>
                <a:effectLst/>
                <a:latin typeface="Calibri Light"/>
                <a:ea typeface="Calibri Light"/>
                <a:cs typeface="Calibri Light"/>
              </a:rPr>
              <a:t>Qu’est-ce que le harcèlement et la discrimination? </a:t>
            </a:r>
          </a:p>
        </p:txBody>
      </p:sp>
      <p:sp>
        <p:nvSpPr>
          <p:cNvPr id="5" name="Slide Number Placeholder 4">
            <a:extLst>
              <a:ext uri="{FF2B5EF4-FFF2-40B4-BE49-F238E27FC236}">
                <a16:creationId xmlns:a16="http://schemas.microsoft.com/office/drawing/2014/main" id="{90FB72F0-297D-5604-D514-2CB5A39DCC5F}"/>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4</a:t>
            </a:fld>
            <a:endParaRPr lang="en-US"/>
          </a:p>
        </p:txBody>
      </p:sp>
      <p:graphicFrame>
        <p:nvGraphicFramePr>
          <p:cNvPr id="10" name="Diagram 9">
            <a:extLst>
              <a:ext uri="{FF2B5EF4-FFF2-40B4-BE49-F238E27FC236}">
                <a16:creationId xmlns:a16="http://schemas.microsoft.com/office/drawing/2014/main" id="{4F99A9FE-9AEF-F820-F65C-BE5BE15E8FB5}"/>
              </a:ext>
            </a:extLst>
          </p:cNvPr>
          <p:cNvGraphicFramePr/>
          <p:nvPr>
            <p:extLst>
              <p:ext uri="{D42A27DB-BD31-4B8C-83A1-F6EECF244321}">
                <p14:modId xmlns:p14="http://schemas.microsoft.com/office/powerpoint/2010/main" val="2641480152"/>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630035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B15D-6946-CDFC-CF72-E48A4D07B9A6}"/>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Mises à la terre protégées</a:t>
            </a:r>
          </a:p>
        </p:txBody>
      </p:sp>
      <p:sp>
        <p:nvSpPr>
          <p:cNvPr id="8" name="TextBox 7">
            <a:extLst>
              <a:ext uri="{FF2B5EF4-FFF2-40B4-BE49-F238E27FC236}">
                <a16:creationId xmlns:a16="http://schemas.microsoft.com/office/drawing/2014/main" id="{F4B8F4E0-B73C-7243-2528-40AE79BB37BD}"/>
              </a:ext>
            </a:extLst>
          </p:cNvPr>
          <p:cNvSpPr txBox="1"/>
          <p:nvPr/>
        </p:nvSpPr>
        <p:spPr>
          <a:xfrm>
            <a:off x="5488686" y="1059066"/>
            <a:ext cx="3454146" cy="1554480"/>
          </a:xfrm>
          <a:prstGeom prst="rect">
            <a:avLst/>
          </a:prstGeom>
        </p:spPr>
        <p:txBody>
          <a:bodyPr vert="horz" lIns="91440" tIns="45720" rIns="91440" bIns="45720" rtlCol="0">
            <a:normAutofit fontScale="95000" lnSpcReduction="10000"/>
          </a:bodyPr>
          <a:lstStyle/>
          <a:p>
            <a:pPr defTabSz="685749">
              <a:lnSpc>
                <a:spcPct val="90000"/>
              </a:lnSpc>
              <a:spcBef>
                <a:spcPts val="750"/>
              </a:spcBef>
            </a:pPr>
            <a:r>
              <a:rPr lang="fr-CA" sz="2100" b="1" i="0" strike="noStrike" cap="none" spc="0" baseline="0">
                <a:solidFill>
                  <a:srgbClr val="FF0000"/>
                </a:solidFill>
                <a:effectLst/>
                <a:latin typeface="Calibri"/>
                <a:ea typeface="Calibri"/>
                <a:cs typeface="Calibri"/>
              </a:rPr>
              <a:t>N’oubliez pas :</a:t>
            </a:r>
          </a:p>
          <a:p>
            <a:pPr defTabSz="685749">
              <a:lnSpc>
                <a:spcPct val="90000"/>
              </a:lnSpc>
              <a:spcBef>
                <a:spcPts val="750"/>
              </a:spcBef>
            </a:pPr>
            <a:r>
              <a:rPr lang="fr-CA" sz="2100" b="1" i="0" strike="noStrike" cap="none" spc="0" baseline="0">
                <a:solidFill>
                  <a:srgbClr val="FF0000"/>
                </a:solidFill>
                <a:effectLst/>
                <a:latin typeface="Calibri"/>
                <a:ea typeface="Calibri"/>
                <a:cs typeface="Calibri"/>
              </a:rPr>
              <a:t>Traitez tout le monde avec respect. Ne faites pas de discrimination sur un terrain protégé</a:t>
            </a:r>
          </a:p>
        </p:txBody>
      </p:sp>
      <p:graphicFrame>
        <p:nvGraphicFramePr>
          <p:cNvPr id="10" name="Content Placeholder 2">
            <a:extLst>
              <a:ext uri="{FF2B5EF4-FFF2-40B4-BE49-F238E27FC236}">
                <a16:creationId xmlns:a16="http://schemas.microsoft.com/office/drawing/2014/main" id="{504F7EF8-8C04-9AAF-56B7-B0D226A1EC06}"/>
              </a:ext>
            </a:extLst>
          </p:cNvPr>
          <p:cNvGraphicFramePr>
            <a:graphicFrameLocks noGrp="1"/>
          </p:cNvGraphicFramePr>
          <p:nvPr>
            <p:ph sz="half" idx="1"/>
            <p:extLst>
              <p:ext uri="{D42A27DB-BD31-4B8C-83A1-F6EECF244321}">
                <p14:modId xmlns:p14="http://schemas.microsoft.com/office/powerpoint/2010/main" val="2199623486"/>
              </p:ext>
            </p:extLst>
          </p:nvPr>
        </p:nvGraphicFramePr>
        <p:xfrm>
          <a:off x="628650" y="2642616"/>
          <a:ext cx="8158734" cy="400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979A9FCC-7447-B3A4-6B62-83027FAB83C5}"/>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5</a:t>
            </a:fld>
            <a:endParaRPr lang="en-US"/>
          </a:p>
        </p:txBody>
      </p:sp>
      <p:sp>
        <p:nvSpPr>
          <p:cNvPr id="9" name="TextBox 8">
            <a:extLst>
              <a:ext uri="{FF2B5EF4-FFF2-40B4-BE49-F238E27FC236}">
                <a16:creationId xmlns:a16="http://schemas.microsoft.com/office/drawing/2014/main" id="{08195FBB-B7DC-ED84-3875-07C254CEF76A}"/>
              </a:ext>
            </a:extLst>
          </p:cNvPr>
          <p:cNvSpPr txBox="1"/>
          <p:nvPr/>
        </p:nvSpPr>
        <p:spPr>
          <a:xfrm>
            <a:off x="628650" y="1639669"/>
            <a:ext cx="4213098" cy="640080"/>
          </a:xfrm>
          <a:prstGeom prst="rect">
            <a:avLst/>
          </a:prstGeom>
          <a:noFill/>
        </p:spPr>
        <p:txBody>
          <a:bodyPr wrap="square" rtlCol="0">
            <a:spAutoFit/>
          </a:bodyPr>
          <a:lstStyle/>
          <a:p>
            <a:r>
              <a:rPr lang="fr-CA" sz="1800" b="0" i="0" strike="noStrike" cap="none" spc="0" baseline="0">
                <a:solidFill>
                  <a:srgbClr val="000000"/>
                </a:solidFill>
                <a:effectLst/>
                <a:latin typeface="Calibri"/>
                <a:ea typeface="Calibri"/>
                <a:cs typeface="Calibri"/>
              </a:rPr>
              <a:t>Selon l’endroit où vous travaillez, ces motifs peuvent comprendre :</a:t>
            </a:r>
          </a:p>
        </p:txBody>
      </p:sp>
    </p:spTree>
    <p:extLst>
      <p:ext uri="{BB962C8B-B14F-4D97-AF65-F5344CB8AC3E}">
        <p14:creationId xmlns:p14="http://schemas.microsoft.com/office/powerpoint/2010/main" val="6327143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3EB6-D382-7E5B-2128-1E2AD33871C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Harcèlement sexuel</a:t>
            </a:r>
          </a:p>
        </p:txBody>
      </p:sp>
      <p:sp>
        <p:nvSpPr>
          <p:cNvPr id="5" name="Slide Number Placeholder 4">
            <a:extLst>
              <a:ext uri="{FF2B5EF4-FFF2-40B4-BE49-F238E27FC236}">
                <a16:creationId xmlns:a16="http://schemas.microsoft.com/office/drawing/2014/main" id="{6B3AC1A7-2052-7988-8268-65113A2221F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6</a:t>
            </a:fld>
            <a:endParaRPr lang="en-US"/>
          </a:p>
        </p:txBody>
      </p:sp>
      <p:graphicFrame>
        <p:nvGraphicFramePr>
          <p:cNvPr id="11" name="TextBox 7">
            <a:extLst>
              <a:ext uri="{FF2B5EF4-FFF2-40B4-BE49-F238E27FC236}">
                <a16:creationId xmlns:a16="http://schemas.microsoft.com/office/drawing/2014/main" id="{29D13C8E-8DED-44C4-E9EA-CA8A2E541890}"/>
              </a:ext>
            </a:extLst>
          </p:cNvPr>
          <p:cNvGraphicFramePr/>
          <p:nvPr>
            <p:extLst>
              <p:ext uri="{D42A27DB-BD31-4B8C-83A1-F6EECF244321}">
                <p14:modId xmlns:p14="http://schemas.microsoft.com/office/powerpoint/2010/main" val="1282310378"/>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0958796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1066B-6332-D0B1-464F-82C26F963585}"/>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fr-CA" sz="4500" b="0" i="0" strike="noStrike" cap="none" spc="0" baseline="0">
                <a:solidFill>
                  <a:srgbClr val="000000"/>
                </a:solidFill>
                <a:effectLst/>
                <a:latin typeface="Calibri Light"/>
                <a:ea typeface="Calibri Light"/>
                <a:cs typeface="Calibri Light"/>
              </a:rPr>
              <a:t>VRAI OU FAUX?</a:t>
            </a:r>
          </a:p>
        </p:txBody>
      </p:sp>
      <p:sp>
        <p:nvSpPr>
          <p:cNvPr id="8" name="TextBox 7">
            <a:extLst>
              <a:ext uri="{FF2B5EF4-FFF2-40B4-BE49-F238E27FC236}">
                <a16:creationId xmlns:a16="http://schemas.microsoft.com/office/drawing/2014/main" id="{F639AE83-D0E3-35F9-4EDD-3B02A67DEA40}"/>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fr-CA" sz="1800" b="0" i="0" strike="noStrike" cap="none" spc="0" baseline="0">
                <a:solidFill>
                  <a:srgbClr val="000000"/>
                </a:solidFill>
                <a:effectLst/>
                <a:latin typeface="Calibri"/>
                <a:ea typeface="Calibri"/>
                <a:cs typeface="Calibri"/>
              </a:rPr>
              <a:t>Lorsqu’un employé est témoin d’un comportement de harcèlement, un </a:t>
            </a:r>
            <a:r>
              <a:rPr lang="fr-CA" sz="1800" b="1" i="0" strike="noStrike" cap="none" spc="0" baseline="0">
                <a:solidFill>
                  <a:srgbClr val="000000"/>
                </a:solidFill>
                <a:effectLst/>
                <a:latin typeface="Calibri"/>
                <a:ea typeface="Calibri"/>
                <a:cs typeface="Calibri"/>
              </a:rPr>
              <a:t>gestionnaire</a:t>
            </a:r>
            <a:r>
              <a:rPr lang="fr-CA" sz="1800" b="0" i="0" strike="noStrike" cap="none" spc="0" baseline="0">
                <a:solidFill>
                  <a:srgbClr val="000000"/>
                </a:solidFill>
                <a:effectLst/>
                <a:latin typeface="Calibri"/>
                <a:ea typeface="Calibri"/>
                <a:cs typeface="Calibri"/>
              </a:rPr>
              <a:t> est généralement le mauvais acteur.</a:t>
            </a:r>
            <a:endParaRPr lang="en-US" kern="1200">
              <a:latin typeface="+mn-lt"/>
              <a:ea typeface="+mn-ea"/>
              <a:cs typeface="+mn-cs"/>
            </a:endParaRPr>
          </a:p>
        </p:txBody>
      </p:sp>
      <p:sp>
        <p:nvSpPr>
          <p:cNvPr id="4" name="Date Placeholder 3" hidden="1">
            <a:extLst>
              <a:ext uri="{FF2B5EF4-FFF2-40B4-BE49-F238E27FC236}">
                <a16:creationId xmlns:a16="http://schemas.microsoft.com/office/drawing/2014/main" id="{68CECCB0-AD0A-475B-29B8-6C408B98E71A}"/>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3DB1538-D7D3-12C4-C7DC-486BD86701E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7</a:t>
            </a:fld>
            <a:endParaRPr lang="en-US"/>
          </a:p>
        </p:txBody>
      </p:sp>
    </p:spTree>
    <p:extLst>
      <p:ext uri="{BB962C8B-B14F-4D97-AF65-F5344CB8AC3E}">
        <p14:creationId xmlns:p14="http://schemas.microsoft.com/office/powerpoint/2010/main" val="21777280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32729-D1A0-2498-9446-B4C38D051394}"/>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fr-CA" sz="4500" b="0" i="0" strike="noStrike" cap="none" spc="0" baseline="0">
                <a:solidFill>
                  <a:srgbClr val="000000"/>
                </a:solidFill>
                <a:effectLst/>
                <a:latin typeface="Calibri Light"/>
                <a:ea typeface="Calibri Light"/>
                <a:cs typeface="Calibri Light"/>
              </a:rPr>
              <a:t>Réponse...</a:t>
            </a:r>
          </a:p>
        </p:txBody>
      </p:sp>
      <p:sp>
        <p:nvSpPr>
          <p:cNvPr id="8" name="TextBox 7">
            <a:extLst>
              <a:ext uri="{FF2B5EF4-FFF2-40B4-BE49-F238E27FC236}">
                <a16:creationId xmlns:a16="http://schemas.microsoft.com/office/drawing/2014/main" id="{150F00E2-00FB-9955-A67E-6B6D62965415}"/>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fr-CA" sz="1800" b="0" i="0" strike="noStrike" cap="none" spc="0" baseline="0">
                <a:solidFill>
                  <a:srgbClr val="000000"/>
                </a:solidFill>
                <a:effectLst/>
                <a:latin typeface="Calibri"/>
                <a:ea typeface="Calibri"/>
                <a:cs typeface="Calibri"/>
              </a:rPr>
              <a:t>L’énoncé ci-dessus est </a:t>
            </a:r>
            <a:r>
              <a:rPr lang="fr-CA" sz="1800" b="1" i="0" strike="noStrike" cap="none" spc="0" baseline="0">
                <a:solidFill>
                  <a:srgbClr val="FF0000"/>
                </a:solidFill>
                <a:effectLst/>
                <a:latin typeface="Calibri"/>
                <a:ea typeface="Calibri"/>
                <a:cs typeface="Calibri"/>
              </a:rPr>
              <a:t>FAUX</a:t>
            </a:r>
          </a:p>
          <a:p>
            <a:pPr algn="ctr" defTabSz="685749">
              <a:lnSpc>
                <a:spcPct val="90000"/>
              </a:lnSpc>
              <a:spcBef>
                <a:spcPts val="750"/>
              </a:spcBef>
            </a:pPr>
            <a:endParaRPr lang="en-US" kern="1200">
              <a:latin typeface="+mn-lt"/>
              <a:ea typeface="+mn-ea"/>
              <a:cs typeface="+mn-cs"/>
            </a:endParaRPr>
          </a:p>
          <a:p>
            <a:pPr algn="ctr" defTabSz="685749">
              <a:lnSpc>
                <a:spcPct val="90000"/>
              </a:lnSpc>
              <a:spcBef>
                <a:spcPts val="750"/>
              </a:spcBef>
            </a:pPr>
            <a:r>
              <a:rPr lang="fr-CA" sz="1800" b="0" i="0" strike="noStrike" cap="none" spc="0" baseline="0">
                <a:solidFill>
                  <a:srgbClr val="000000"/>
                </a:solidFill>
                <a:effectLst/>
                <a:latin typeface="Calibri"/>
                <a:ea typeface="Calibri"/>
                <a:cs typeface="Calibri"/>
              </a:rPr>
              <a:t>Les collègues sont tout aussi susceptibles que les gestionnaires de se livrer à du harcèlement.</a:t>
            </a:r>
            <a:endParaRPr lang="en-US" kern="1200">
              <a:latin typeface="+mn-lt"/>
              <a:ea typeface="+mn-ea"/>
              <a:cs typeface="+mn-cs"/>
            </a:endParaRPr>
          </a:p>
        </p:txBody>
      </p:sp>
      <p:sp>
        <p:nvSpPr>
          <p:cNvPr id="5" name="Slide Number Placeholder 4" hidden="1">
            <a:extLst>
              <a:ext uri="{FF2B5EF4-FFF2-40B4-BE49-F238E27FC236}">
                <a16:creationId xmlns:a16="http://schemas.microsoft.com/office/drawing/2014/main" id="{2D90AD7F-E22E-A72A-71B9-E3A237FA468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8</a:t>
            </a:fld>
            <a:endParaRPr lang="en-US"/>
          </a:p>
        </p:txBody>
      </p:sp>
    </p:spTree>
    <p:extLst>
      <p:ext uri="{BB962C8B-B14F-4D97-AF65-F5344CB8AC3E}">
        <p14:creationId xmlns:p14="http://schemas.microsoft.com/office/powerpoint/2010/main" val="83207171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1902E-2637-717F-B53D-572920A6ACEF}"/>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fr-CA" sz="2000" b="0" i="0" strike="noStrike" cap="none" spc="0" baseline="0">
                <a:solidFill>
                  <a:srgbClr val="FFFFFF"/>
                </a:solidFill>
                <a:effectLst/>
                <a:latin typeface="Calibri Light"/>
                <a:ea typeface="Calibri Light"/>
                <a:cs typeface="Calibri Light"/>
              </a:rPr>
              <a:t>Environnement de travail hostile</a:t>
            </a:r>
          </a:p>
        </p:txBody>
      </p:sp>
      <p:sp>
        <p:nvSpPr>
          <p:cNvPr id="15" name="Content Placeholder 2">
            <a:extLst>
              <a:ext uri="{FF2B5EF4-FFF2-40B4-BE49-F238E27FC236}">
                <a16:creationId xmlns:a16="http://schemas.microsoft.com/office/drawing/2014/main" id="{A57ADB30-AA57-FF7E-1163-C8F0957A0B76}"/>
              </a:ext>
            </a:extLst>
          </p:cNvPr>
          <p:cNvSpPr>
            <a:spLocks noGrp="1"/>
          </p:cNvSpPr>
          <p:nvPr>
            <p:ph sz="half" idx="1"/>
          </p:nvPr>
        </p:nvSpPr>
        <p:spPr>
          <a:xfrm>
            <a:off x="365760" y="1539696"/>
            <a:ext cx="3886200" cy="5135424"/>
          </a:xfrm>
        </p:spPr>
        <p:txBody>
          <a:bodyPr/>
          <a:lstStyle/>
          <a:p>
            <a:pPr marL="0" indent="0">
              <a:buNone/>
            </a:pPr>
            <a:r>
              <a:rPr lang="fr-CA" sz="2100" b="0" i="0" strike="noStrike" cap="none" spc="0" baseline="0" dirty="0">
                <a:solidFill>
                  <a:srgbClr val="000000"/>
                </a:solidFill>
                <a:effectLst/>
                <a:latin typeface="Calibri"/>
                <a:ea typeface="Calibri"/>
                <a:cs typeface="Calibri"/>
              </a:rPr>
              <a:t>Exemple (accumulation de commentaires au fil du temps)</a:t>
            </a:r>
          </a:p>
          <a:p>
            <a:pPr marL="0" indent="0">
              <a:buNone/>
            </a:pPr>
            <a:endParaRPr lang="en-US" dirty="0"/>
          </a:p>
          <a:p>
            <a:pPr marL="0" indent="0">
              <a:buNone/>
            </a:pPr>
            <a:endParaRPr lang="en-US" dirty="0"/>
          </a:p>
          <a:p>
            <a:pPr marL="0" indent="0">
              <a:buNone/>
            </a:pPr>
            <a:r>
              <a:rPr lang="fr-CA" sz="2100" b="0" i="0" strike="noStrike" cap="none" spc="0" baseline="0" dirty="0">
                <a:solidFill>
                  <a:srgbClr val="000000"/>
                </a:solidFill>
                <a:effectLst/>
                <a:latin typeface="Calibri"/>
                <a:ea typeface="Calibri"/>
                <a:cs typeface="Calibri"/>
              </a:rPr>
              <a:t>            « Ayant fière allure, fille »</a:t>
            </a:r>
          </a:p>
          <a:p>
            <a:pPr marL="0" indent="0">
              <a:buNone/>
            </a:pPr>
            <a:endParaRPr lang="en-US" dirty="0"/>
          </a:p>
          <a:p>
            <a:pPr marL="0" indent="0">
              <a:buNone/>
            </a:pPr>
            <a:endParaRPr lang="en-US" dirty="0"/>
          </a:p>
          <a:p>
            <a:pPr marL="0" indent="0">
              <a:buNone/>
            </a:pPr>
            <a:r>
              <a:rPr lang="fr-CA" sz="2100" b="0" i="0" strike="noStrike" cap="none" spc="0" baseline="0" dirty="0">
                <a:solidFill>
                  <a:srgbClr val="000000"/>
                </a:solidFill>
                <a:effectLst/>
                <a:latin typeface="Calibri"/>
                <a:ea typeface="Calibri"/>
                <a:cs typeface="Calibri"/>
              </a:rPr>
              <a:t>« Pourquoi ne souriez-vous pas plus? »</a:t>
            </a:r>
          </a:p>
          <a:p>
            <a:pPr marL="0" indent="0">
              <a:buNone/>
            </a:pPr>
            <a:endParaRPr lang="en-US" dirty="0"/>
          </a:p>
          <a:p>
            <a:pPr marL="0" indent="0">
              <a:buNone/>
            </a:pPr>
            <a:endParaRPr lang="en-US" dirty="0"/>
          </a:p>
          <a:p>
            <a:pPr marL="0" indent="0">
              <a:buNone/>
            </a:pPr>
            <a:r>
              <a:rPr lang="fr-CA" sz="2100" b="0" i="0" strike="noStrike" cap="none" spc="0" baseline="0" dirty="0">
                <a:solidFill>
                  <a:srgbClr val="000000"/>
                </a:solidFill>
                <a:effectLst/>
                <a:latin typeface="Calibri"/>
                <a:ea typeface="Calibri"/>
                <a:cs typeface="Calibri"/>
              </a:rPr>
              <a:t>« Utilisez vos breloques masculines pour faire valoir votre point de vue »</a:t>
            </a:r>
          </a:p>
          <a:p>
            <a:pPr marL="0" indent="0">
              <a:buNone/>
            </a:pPr>
            <a:endParaRPr lang="en-US" dirty="0"/>
          </a:p>
          <a:p>
            <a:pPr marL="0" indent="0">
              <a:buNone/>
            </a:pPr>
            <a:endParaRPr lang="en-US" dirty="0"/>
          </a:p>
        </p:txBody>
      </p:sp>
      <p:sp>
        <p:nvSpPr>
          <p:cNvPr id="4" name="Date Placeholder 3" hidden="1">
            <a:extLst>
              <a:ext uri="{FF2B5EF4-FFF2-40B4-BE49-F238E27FC236}">
                <a16:creationId xmlns:a16="http://schemas.microsoft.com/office/drawing/2014/main" id="{03DB67EF-BBA9-553C-40B3-F0F1A8116F2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5449FD41-97DA-B96E-E874-37F373C3A50D}"/>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9</a:t>
            </a:fld>
            <a:endParaRPr lang="en-US"/>
          </a:p>
        </p:txBody>
      </p:sp>
      <p:graphicFrame>
        <p:nvGraphicFramePr>
          <p:cNvPr id="11" name="TextBox 8">
            <a:extLst>
              <a:ext uri="{FF2B5EF4-FFF2-40B4-BE49-F238E27FC236}">
                <a16:creationId xmlns:a16="http://schemas.microsoft.com/office/drawing/2014/main" id="{5C8EE2C3-03A6-ABAF-3E18-D116DCC72FC4}"/>
              </a:ext>
            </a:extLst>
          </p:cNvPr>
          <p:cNvGraphicFramePr/>
          <p:nvPr>
            <p:extLst>
              <p:ext uri="{D42A27DB-BD31-4B8C-83A1-F6EECF244321}">
                <p14:modId xmlns:p14="http://schemas.microsoft.com/office/powerpoint/2010/main" val="2908521219"/>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loud 9">
            <a:extLst>
              <a:ext uri="{FF2B5EF4-FFF2-40B4-BE49-F238E27FC236}">
                <a16:creationId xmlns:a16="http://schemas.microsoft.com/office/drawing/2014/main" id="{4973049F-7464-8CEC-6A0C-5251C1FF3DEA}"/>
              </a:ext>
            </a:extLst>
          </p:cNvPr>
          <p:cNvSpPr/>
          <p:nvPr/>
        </p:nvSpPr>
        <p:spPr>
          <a:xfrm>
            <a:off x="753537" y="2783373"/>
            <a:ext cx="3615609" cy="965361"/>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loud 11">
            <a:extLst>
              <a:ext uri="{FF2B5EF4-FFF2-40B4-BE49-F238E27FC236}">
                <a16:creationId xmlns:a16="http://schemas.microsoft.com/office/drawing/2014/main" id="{FC81ACA9-37AB-3848-2CFF-062B6FE76A28}"/>
              </a:ext>
            </a:extLst>
          </p:cNvPr>
          <p:cNvSpPr/>
          <p:nvPr/>
        </p:nvSpPr>
        <p:spPr>
          <a:xfrm>
            <a:off x="149233" y="3839650"/>
            <a:ext cx="4102726" cy="1172874"/>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loud 12">
            <a:extLst>
              <a:ext uri="{FF2B5EF4-FFF2-40B4-BE49-F238E27FC236}">
                <a16:creationId xmlns:a16="http://schemas.microsoft.com/office/drawing/2014/main" id="{1A002978-A98E-CB9D-6EC7-7BD47016C50B}"/>
              </a:ext>
            </a:extLst>
          </p:cNvPr>
          <p:cNvSpPr/>
          <p:nvPr/>
        </p:nvSpPr>
        <p:spPr>
          <a:xfrm>
            <a:off x="73151" y="5318304"/>
            <a:ext cx="4178808" cy="1482966"/>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143120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0.1160"/>
  <p:tag name="AS_RELEASE_DATE" val="2023.06.30"/>
  <p:tag name="AS_TITLE" val="Aspose.Slides for Java"/>
  <p:tag name="AS_VERSION" val="23.6"/>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8" ma:contentTypeDescription="Create a new document." ma:contentTypeScope="" ma:versionID="9fab1500bc2d3a4d890516a255717ef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1d2897f00ee0e34ba7a8446ba2849d29"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6CADE9-4D3D-4C64-A002-EFFA1FA05E14}">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2f06a283-6e2a-4468-871b-e6c63acdb121"/>
    <ds:schemaRef ds:uri="f8d36d2f-c42f-4f1f-9b2f-abc69cc7a5ad"/>
    <ds:schemaRef ds:uri="http://www.w3.org/XML/1998/namespace"/>
    <ds:schemaRef ds:uri="d7a05af7-d3ec-4963-864c-209504fa34de"/>
    <ds:schemaRef ds:uri="2ed82cd1-6b84-4a0b-9746-0d197a81b83d"/>
  </ds:schemaRefs>
</ds:datastoreItem>
</file>

<file path=customXml/itemProps2.xml><?xml version="1.0" encoding="utf-8"?>
<ds:datastoreItem xmlns:ds="http://schemas.openxmlformats.org/officeDocument/2006/customXml" ds:itemID="{716B392D-E5BF-4564-B6BF-23992C910A2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2374</TotalTime>
  <Words>1879</Words>
  <Application>Microsoft Office PowerPoint</Application>
  <PresentationFormat>On-screen Show (4:3)</PresentationFormat>
  <Paragraphs>246</Paragraphs>
  <Slides>2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PowerPoint Presentation</vt:lpstr>
      <vt:lpstr>Prévention de la discrimination et du harcèlement </vt:lpstr>
      <vt:lpstr>Prévention de la discrimination et du harcèlement</vt:lpstr>
      <vt:lpstr>Qu’est-ce que le harcèlement et la discrimination? </vt:lpstr>
      <vt:lpstr>Mises à la terre protégées</vt:lpstr>
      <vt:lpstr>Harcèlement sexuel</vt:lpstr>
      <vt:lpstr>VRAI OU FAUX?</vt:lpstr>
      <vt:lpstr>Réponse...</vt:lpstr>
      <vt:lpstr>Environnement de travail hostile</vt:lpstr>
      <vt:lpstr>Stéréotypes de genre</vt:lpstr>
      <vt:lpstr>VRAI OU FAUX?</vt:lpstr>
      <vt:lpstr>Réponse...</vt:lpstr>
      <vt:lpstr>Harcèlement sexuel – pouvez-vous le repérer? </vt:lpstr>
      <vt:lpstr>Langage et commentaires inappropriés</vt:lpstr>
      <vt:lpstr>Environnement de travail hostile</vt:lpstr>
      <vt:lpstr>Sur place ou hors site</vt:lpstr>
      <vt:lpstr>Discrimination</vt:lpstr>
      <vt:lpstr>Intimidation en milieu de travail</vt:lpstr>
      <vt:lpstr>Personnel vs travail</vt:lpstr>
      <vt:lpstr>Conduite au travail – question à se poser</vt:lpstr>
      <vt:lpstr>Particulier - repérer les comportements importuns</vt:lpstr>
      <vt:lpstr>Que faire si vous constatez un comportement inapproprié</vt:lpstr>
      <vt:lpstr>Politique de non-représailles de RPM </vt:lpstr>
      <vt:lpstr>Représailles </vt:lpstr>
      <vt:lpstr>Vrai ou faux?</vt:lpstr>
      <vt:lpstr>Réponse...</vt:lpstr>
      <vt:lpstr>Merc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36</cp:revision>
  <cp:lastPrinted>2020-04-30T20:14:04Z</cp:lastPrinted>
  <dcterms:created xsi:type="dcterms:W3CDTF">2018-12-18T18:53:57Z</dcterms:created>
  <dcterms:modified xsi:type="dcterms:W3CDTF">2024-03-25T18:3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y fmtid="{D5CDD505-2E9C-101B-9397-08002B2CF9AE}" pid="3" name="MediaServiceImageTags">
    <vt:lpwstr/>
  </property>
</Properties>
</file>